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.xml" ContentType="application/vnd.openxmlformats-officedocument.presentationml.tags+xml"/>
  <Override PartName="/ppt/notesSlides/notesSlide3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1"/>
    <p:sldMasterId id="2147484423" r:id="rId2"/>
  </p:sldMasterIdLst>
  <p:notesMasterIdLst>
    <p:notesMasterId r:id="rId130"/>
  </p:notesMasterIdLst>
  <p:handoutMasterIdLst>
    <p:handoutMasterId r:id="rId131"/>
  </p:handoutMasterIdLst>
  <p:sldIdLst>
    <p:sldId id="264" r:id="rId3"/>
    <p:sldId id="1091" r:id="rId4"/>
    <p:sldId id="1385" r:id="rId5"/>
    <p:sldId id="1341" r:id="rId6"/>
    <p:sldId id="2083" r:id="rId7"/>
    <p:sldId id="2084" r:id="rId8"/>
    <p:sldId id="2085" r:id="rId9"/>
    <p:sldId id="2086" r:id="rId10"/>
    <p:sldId id="2087" r:id="rId11"/>
    <p:sldId id="1101" r:id="rId12"/>
    <p:sldId id="1934" r:id="rId13"/>
    <p:sldId id="819" r:id="rId14"/>
    <p:sldId id="2988" r:id="rId15"/>
    <p:sldId id="2989" r:id="rId16"/>
    <p:sldId id="3055" r:id="rId17"/>
    <p:sldId id="2045" r:id="rId18"/>
    <p:sldId id="2053" r:id="rId19"/>
    <p:sldId id="2046" r:id="rId20"/>
    <p:sldId id="3041" r:id="rId21"/>
    <p:sldId id="2933" r:id="rId22"/>
    <p:sldId id="907" r:id="rId23"/>
    <p:sldId id="1947" r:id="rId24"/>
    <p:sldId id="1948" r:id="rId25"/>
    <p:sldId id="1949" r:id="rId26"/>
    <p:sldId id="1963" r:id="rId27"/>
    <p:sldId id="1962" r:id="rId28"/>
    <p:sldId id="1274" r:id="rId29"/>
    <p:sldId id="268" r:id="rId30"/>
    <p:sldId id="269" r:id="rId31"/>
    <p:sldId id="270" r:id="rId32"/>
    <p:sldId id="1373" r:id="rId33"/>
    <p:sldId id="1777" r:id="rId34"/>
    <p:sldId id="274" r:id="rId35"/>
    <p:sldId id="442" r:id="rId36"/>
    <p:sldId id="625" r:id="rId37"/>
    <p:sldId id="445" r:id="rId38"/>
    <p:sldId id="283" r:id="rId39"/>
    <p:sldId id="632" r:id="rId40"/>
    <p:sldId id="3066" r:id="rId41"/>
    <p:sldId id="2340" r:id="rId42"/>
    <p:sldId id="2338" r:id="rId43"/>
    <p:sldId id="454" r:id="rId44"/>
    <p:sldId id="2341" r:id="rId45"/>
    <p:sldId id="3057" r:id="rId46"/>
    <p:sldId id="448" r:id="rId47"/>
    <p:sldId id="303" r:id="rId48"/>
    <p:sldId id="304" r:id="rId49"/>
    <p:sldId id="308" r:id="rId50"/>
    <p:sldId id="1369" r:id="rId51"/>
    <p:sldId id="326" r:id="rId52"/>
    <p:sldId id="2342" r:id="rId53"/>
    <p:sldId id="1370" r:id="rId54"/>
    <p:sldId id="271" r:id="rId55"/>
    <p:sldId id="331" r:id="rId56"/>
    <p:sldId id="458" r:id="rId57"/>
    <p:sldId id="333" r:id="rId58"/>
    <p:sldId id="3064" r:id="rId59"/>
    <p:sldId id="523" r:id="rId60"/>
    <p:sldId id="524" r:id="rId61"/>
    <p:sldId id="525" r:id="rId62"/>
    <p:sldId id="526" r:id="rId63"/>
    <p:sldId id="528" r:id="rId64"/>
    <p:sldId id="529" r:id="rId65"/>
    <p:sldId id="2997" r:id="rId66"/>
    <p:sldId id="1262" r:id="rId67"/>
    <p:sldId id="1263" r:id="rId68"/>
    <p:sldId id="1264" r:id="rId69"/>
    <p:sldId id="1265" r:id="rId70"/>
    <p:sldId id="1272" r:id="rId71"/>
    <p:sldId id="1456" r:id="rId72"/>
    <p:sldId id="1458" r:id="rId73"/>
    <p:sldId id="1387" r:id="rId74"/>
    <p:sldId id="677" r:id="rId75"/>
    <p:sldId id="1288" r:id="rId76"/>
    <p:sldId id="1289" r:id="rId77"/>
    <p:sldId id="1293" r:id="rId78"/>
    <p:sldId id="2796" r:id="rId79"/>
    <p:sldId id="3065" r:id="rId80"/>
    <p:sldId id="2839" r:id="rId81"/>
    <p:sldId id="2786" r:id="rId82"/>
    <p:sldId id="2840" r:id="rId83"/>
    <p:sldId id="2841" r:id="rId84"/>
    <p:sldId id="3068" r:id="rId85"/>
    <p:sldId id="3069" r:id="rId86"/>
    <p:sldId id="3070" r:id="rId87"/>
    <p:sldId id="3071" r:id="rId88"/>
    <p:sldId id="3072" r:id="rId89"/>
    <p:sldId id="3073" r:id="rId90"/>
    <p:sldId id="2793" r:id="rId91"/>
    <p:sldId id="2794" r:id="rId92"/>
    <p:sldId id="2837" r:id="rId93"/>
    <p:sldId id="2795" r:id="rId94"/>
    <p:sldId id="3074" r:id="rId95"/>
    <p:sldId id="3075" r:id="rId96"/>
    <p:sldId id="3076" r:id="rId97"/>
    <p:sldId id="3077" r:id="rId98"/>
    <p:sldId id="3078" r:id="rId99"/>
    <p:sldId id="3079" r:id="rId100"/>
    <p:sldId id="3080" r:id="rId101"/>
    <p:sldId id="3081" r:id="rId102"/>
    <p:sldId id="3082" r:id="rId103"/>
    <p:sldId id="3083" r:id="rId104"/>
    <p:sldId id="1397" r:id="rId105"/>
    <p:sldId id="1399" r:id="rId106"/>
    <p:sldId id="1402" r:id="rId107"/>
    <p:sldId id="1403" r:id="rId108"/>
    <p:sldId id="514" r:id="rId109"/>
    <p:sldId id="2798" r:id="rId110"/>
    <p:sldId id="3013" r:id="rId111"/>
    <p:sldId id="535" r:id="rId112"/>
    <p:sldId id="2802" r:id="rId113"/>
    <p:sldId id="2077" r:id="rId114"/>
    <p:sldId id="1406" r:id="rId115"/>
    <p:sldId id="1408" r:id="rId116"/>
    <p:sldId id="1241" r:id="rId117"/>
    <p:sldId id="1243" r:id="rId118"/>
    <p:sldId id="3024" r:id="rId119"/>
    <p:sldId id="1409" r:id="rId120"/>
    <p:sldId id="1441" r:id="rId121"/>
    <p:sldId id="1411" r:id="rId122"/>
    <p:sldId id="1412" r:id="rId123"/>
    <p:sldId id="1410" r:id="rId124"/>
    <p:sldId id="2993" r:id="rId125"/>
    <p:sldId id="2994" r:id="rId126"/>
    <p:sldId id="2996" r:id="rId127"/>
    <p:sldId id="3029" r:id="rId128"/>
    <p:sldId id="810" r:id="rId129"/>
  </p:sldIdLst>
  <p:sldSz cx="13716000" cy="10287000"/>
  <p:notesSz cx="6877050" cy="9656763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8561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37123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205685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74247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3428091" algn="l" defTabSz="137123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4113710" algn="l" defTabSz="137123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4799328" algn="l" defTabSz="137123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484947" algn="l" defTabSz="1371239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orient="horz" pos="3989" userDrawn="1">
          <p15:clr>
            <a:srgbClr val="A4A3A4"/>
          </p15:clr>
        </p15:guide>
        <p15:guide id="3" orient="horz" pos="1403" userDrawn="1">
          <p15:clr>
            <a:srgbClr val="A4A3A4"/>
          </p15:clr>
        </p15:guide>
        <p15:guide id="4" orient="horz" pos="5418" userDrawn="1">
          <p15:clr>
            <a:srgbClr val="A4A3A4"/>
          </p15:clr>
        </p15:guide>
        <p15:guide id="5" orient="horz" pos="1605" userDrawn="1">
          <p15:clr>
            <a:srgbClr val="A4A3A4"/>
          </p15:clr>
        </p15:guide>
        <p15:guide id="6" pos="5273" userDrawn="1">
          <p15:clr>
            <a:srgbClr val="A4A3A4"/>
          </p15:clr>
        </p15:guide>
        <p15:guide id="7" pos="4592" userDrawn="1">
          <p15:clr>
            <a:srgbClr val="A4A3A4"/>
          </p15:clr>
        </p15:guide>
        <p15:guide id="8" pos="8221" userDrawn="1">
          <p15:clr>
            <a:srgbClr val="A4A3A4"/>
          </p15:clr>
        </p15:guide>
        <p15:guide id="9" pos="8302" userDrawn="1">
          <p15:clr>
            <a:srgbClr val="A4A3A4"/>
          </p15:clr>
        </p15:guide>
        <p15:guide id="10" pos="6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2" userDrawn="1">
          <p15:clr>
            <a:srgbClr val="A4A3A4"/>
          </p15:clr>
        </p15:guide>
        <p15:guide id="2" pos="216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lange Pose Garcia" initials="SPG" lastIdx="0" clrIdx="0">
    <p:extLst>
      <p:ext uri="{19B8F6BF-5375-455C-9EA6-DF929625EA0E}">
        <p15:presenceInfo xmlns:p15="http://schemas.microsoft.com/office/powerpoint/2012/main" userId="3d9a6d5646ebac6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ADE7"/>
    <a:srgbClr val="4F81BD"/>
    <a:srgbClr val="0B9CE5"/>
    <a:srgbClr val="F6862A"/>
    <a:srgbClr val="8FC157"/>
    <a:srgbClr val="105B95"/>
    <a:srgbClr val="666666"/>
    <a:srgbClr val="C0E3F8"/>
    <a:srgbClr val="9236A4"/>
    <a:srgbClr val="00A4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F3946F-8045-4C62-9471-20A070809754}" v="30" dt="2024-03-07T13:02:01.5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74510" autoAdjust="0"/>
  </p:normalViewPr>
  <p:slideViewPr>
    <p:cSldViewPr>
      <p:cViewPr varScale="1">
        <p:scale>
          <a:sx n="41" d="100"/>
          <a:sy n="41" d="100"/>
        </p:scale>
        <p:origin x="2266" y="34"/>
      </p:cViewPr>
      <p:guideLst>
        <p:guide orient="horz" pos="3240"/>
        <p:guide orient="horz" pos="3989"/>
        <p:guide orient="horz" pos="1403"/>
        <p:guide orient="horz" pos="5418"/>
        <p:guide orient="horz" pos="1605"/>
        <p:guide pos="5273"/>
        <p:guide pos="4592"/>
        <p:guide pos="8221"/>
        <p:guide pos="8302"/>
        <p:guide pos="6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3822" y="78"/>
      </p:cViewPr>
      <p:guideLst>
        <p:guide orient="horz" pos="3042"/>
        <p:guide pos="216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microsoft.com/office/2015/10/relationships/revisionInfo" Target="revisionInfo.xml"/><Relationship Id="rId16" Type="http://schemas.openxmlformats.org/officeDocument/2006/relationships/slide" Target="slides/slide14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28" Type="http://schemas.openxmlformats.org/officeDocument/2006/relationships/slide" Target="slides/slide126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18" Type="http://schemas.openxmlformats.org/officeDocument/2006/relationships/slide" Target="slides/slide116.xml"/><Relationship Id="rId134" Type="http://schemas.openxmlformats.org/officeDocument/2006/relationships/viewProps" Target="viewProps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notesMaster" Target="notesMasters/notesMaster1.xml"/><Relationship Id="rId135" Type="http://schemas.openxmlformats.org/officeDocument/2006/relationships/theme" Target="theme/theme1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handoutMaster" Target="handoutMasters/handoutMaster1.xml"/><Relationship Id="rId136" Type="http://schemas.openxmlformats.org/officeDocument/2006/relationships/tableStyles" Target="tableStyles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microsoft.com/office/2016/11/relationships/changesInfo" Target="changesInfos/changesInfo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commentAuthors" Target="commentAuthors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lange Pose Garcia" userId="3d9a6d5646ebac6f" providerId="LiveId" clId="{FCF3946F-8045-4C62-9471-20A070809754}"/>
    <pc:docChg chg="undo redo custSel addSld delSld modSld sldOrd delMainMaster">
      <pc:chgData name="Solange Pose Garcia" userId="3d9a6d5646ebac6f" providerId="LiveId" clId="{FCF3946F-8045-4C62-9471-20A070809754}" dt="2024-03-07T13:15:45.204" v="390" actId="6549"/>
      <pc:docMkLst>
        <pc:docMk/>
      </pc:docMkLst>
      <pc:sldChg chg="modNotesTx">
        <pc:chgData name="Solange Pose Garcia" userId="3d9a6d5646ebac6f" providerId="LiveId" clId="{FCF3946F-8045-4C62-9471-20A070809754}" dt="2024-03-07T13:11:07.932" v="361" actId="6549"/>
        <pc:sldMkLst>
          <pc:docMk/>
          <pc:sldMk cId="1688417630" sldId="268"/>
        </pc:sldMkLst>
      </pc:sldChg>
      <pc:sldChg chg="modNotesTx">
        <pc:chgData name="Solange Pose Garcia" userId="3d9a6d5646ebac6f" providerId="LiveId" clId="{FCF3946F-8045-4C62-9471-20A070809754}" dt="2024-03-07T13:11:16.027" v="362" actId="6549"/>
        <pc:sldMkLst>
          <pc:docMk/>
          <pc:sldMk cId="2082975769" sldId="270"/>
        </pc:sldMkLst>
      </pc:sldChg>
      <pc:sldChg chg="del">
        <pc:chgData name="Solange Pose Garcia" userId="3d9a6d5646ebac6f" providerId="LiveId" clId="{FCF3946F-8045-4C62-9471-20A070809754}" dt="2024-03-07T12:55:24.502" v="268" actId="47"/>
        <pc:sldMkLst>
          <pc:docMk/>
          <pc:sldMk cId="3383985239" sldId="272"/>
        </pc:sldMkLst>
      </pc:sldChg>
      <pc:sldChg chg="modNotesTx">
        <pc:chgData name="Solange Pose Garcia" userId="3d9a6d5646ebac6f" providerId="LiveId" clId="{FCF3946F-8045-4C62-9471-20A070809754}" dt="2024-03-07T13:11:27.572" v="363" actId="6549"/>
        <pc:sldMkLst>
          <pc:docMk/>
          <pc:sldMk cId="1578621311" sldId="274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3886126" sldId="285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1053252354" sldId="286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44429220" sldId="287"/>
        </pc:sldMkLst>
      </pc:sldChg>
      <pc:sldChg chg="del">
        <pc:chgData name="Solange Pose Garcia" userId="3d9a6d5646ebac6f" providerId="LiveId" clId="{FCF3946F-8045-4C62-9471-20A070809754}" dt="2024-03-07T12:41:29.885" v="51" actId="47"/>
        <pc:sldMkLst>
          <pc:docMk/>
          <pc:sldMk cId="4143025901" sldId="301"/>
        </pc:sldMkLst>
      </pc:sldChg>
      <pc:sldChg chg="delSp mod delAnim">
        <pc:chgData name="Solange Pose Garcia" userId="3d9a6d5646ebac6f" providerId="LiveId" clId="{FCF3946F-8045-4C62-9471-20A070809754}" dt="2024-03-07T13:05:39.879" v="341" actId="478"/>
        <pc:sldMkLst>
          <pc:docMk/>
          <pc:sldMk cId="3717209424" sldId="303"/>
        </pc:sldMkLst>
        <pc:spChg chg="del">
          <ac:chgData name="Solange Pose Garcia" userId="3d9a6d5646ebac6f" providerId="LiveId" clId="{FCF3946F-8045-4C62-9471-20A070809754}" dt="2024-03-07T13:05:39.879" v="341" actId="478"/>
          <ac:spMkLst>
            <pc:docMk/>
            <pc:sldMk cId="3717209424" sldId="303"/>
            <ac:spMk id="2" creationId="{B094CDCC-37CD-2334-BC8A-FE3EDF711304}"/>
          </ac:spMkLst>
        </pc:spChg>
      </pc:sldChg>
      <pc:sldChg chg="modNotesTx">
        <pc:chgData name="Solange Pose Garcia" userId="3d9a6d5646ebac6f" providerId="LiveId" clId="{FCF3946F-8045-4C62-9471-20A070809754}" dt="2024-03-07T13:11:59.633" v="365" actId="6549"/>
        <pc:sldMkLst>
          <pc:docMk/>
          <pc:sldMk cId="3275493737" sldId="304"/>
        </pc:sldMkLst>
      </pc:sldChg>
      <pc:sldChg chg="modNotesTx">
        <pc:chgData name="Solange Pose Garcia" userId="3d9a6d5646ebac6f" providerId="LiveId" clId="{FCF3946F-8045-4C62-9471-20A070809754}" dt="2024-03-07T13:12:04.628" v="366" actId="6549"/>
        <pc:sldMkLst>
          <pc:docMk/>
          <pc:sldMk cId="1758925095" sldId="308"/>
        </pc:sldMkLst>
      </pc:sldChg>
      <pc:sldChg chg="del">
        <pc:chgData name="Solange Pose Garcia" userId="3d9a6d5646ebac6f" providerId="LiveId" clId="{FCF3946F-8045-4C62-9471-20A070809754}" dt="2024-03-07T12:43:38.163" v="62" actId="47"/>
        <pc:sldMkLst>
          <pc:docMk/>
          <pc:sldMk cId="831546160" sldId="309"/>
        </pc:sldMkLst>
      </pc:sldChg>
      <pc:sldChg chg="addSp modSp mod">
        <pc:chgData name="Solange Pose Garcia" userId="3d9a6d5646ebac6f" providerId="LiveId" clId="{FCF3946F-8045-4C62-9471-20A070809754}" dt="2024-03-07T12:45:14.261" v="74" actId="1076"/>
        <pc:sldMkLst>
          <pc:docMk/>
          <pc:sldMk cId="2771258256" sldId="331"/>
        </pc:sldMkLst>
        <pc:picChg chg="add mod">
          <ac:chgData name="Solange Pose Garcia" userId="3d9a6d5646ebac6f" providerId="LiveId" clId="{FCF3946F-8045-4C62-9471-20A070809754}" dt="2024-03-07T12:45:14.261" v="74" actId="1076"/>
          <ac:picMkLst>
            <pc:docMk/>
            <pc:sldMk cId="2771258256" sldId="331"/>
            <ac:picMk id="2" creationId="{6D9CA059-A319-7B80-E948-06125CF5DACF}"/>
          </ac:picMkLst>
        </pc:picChg>
      </pc:sldChg>
      <pc:sldChg chg="delSp mod delAnim">
        <pc:chgData name="Solange Pose Garcia" userId="3d9a6d5646ebac6f" providerId="LiveId" clId="{FCF3946F-8045-4C62-9471-20A070809754}" dt="2024-03-07T13:06:03.153" v="342" actId="478"/>
        <pc:sldMkLst>
          <pc:docMk/>
          <pc:sldMk cId="2996276376" sldId="333"/>
        </pc:sldMkLst>
        <pc:spChg chg="del">
          <ac:chgData name="Solange Pose Garcia" userId="3d9a6d5646ebac6f" providerId="LiveId" clId="{FCF3946F-8045-4C62-9471-20A070809754}" dt="2024-03-07T13:06:03.153" v="342" actId="478"/>
          <ac:spMkLst>
            <pc:docMk/>
            <pc:sldMk cId="2996276376" sldId="333"/>
            <ac:spMk id="4" creationId="{A499E436-1474-B15D-71F2-98FBDF6373B0}"/>
          </ac:spMkLst>
        </pc:spChg>
        <pc:spChg chg="del">
          <ac:chgData name="Solange Pose Garcia" userId="3d9a6d5646ebac6f" providerId="LiveId" clId="{FCF3946F-8045-4C62-9471-20A070809754}" dt="2024-03-07T13:06:03.153" v="342" actId="478"/>
          <ac:spMkLst>
            <pc:docMk/>
            <pc:sldMk cId="2996276376" sldId="333"/>
            <ac:spMk id="6" creationId="{4B9D6180-2B51-CD3A-A4E0-58F0F81EB290}"/>
          </ac:spMkLst>
        </pc:spChg>
      </pc:sldChg>
      <pc:sldChg chg="delSp del">
        <pc:chgData name="Solange Pose Garcia" userId="3d9a6d5646ebac6f" providerId="LiveId" clId="{FCF3946F-8045-4C62-9471-20A070809754}" dt="2024-03-07T13:00:13.045" v="328" actId="47"/>
        <pc:sldMkLst>
          <pc:docMk/>
          <pc:sldMk cId="1169324525" sldId="406"/>
        </pc:sldMkLst>
        <pc:picChg chg="del">
          <ac:chgData name="Solange Pose Garcia" userId="3d9a6d5646ebac6f" providerId="LiveId" clId="{FCF3946F-8045-4C62-9471-20A070809754}" dt="2024-03-07T12:59:06.107" v="294" actId="478"/>
          <ac:picMkLst>
            <pc:docMk/>
            <pc:sldMk cId="1169324525" sldId="406"/>
            <ac:picMk id="370690" creationId="{00000000-0000-0000-0000-000000000000}"/>
          </ac:picMkLst>
        </pc:picChg>
      </pc:sldChg>
      <pc:sldChg chg="del">
        <pc:chgData name="Solange Pose Garcia" userId="3d9a6d5646ebac6f" providerId="LiveId" clId="{FCF3946F-8045-4C62-9471-20A070809754}" dt="2024-03-07T12:42:01.970" v="52" actId="47"/>
        <pc:sldMkLst>
          <pc:docMk/>
          <pc:sldMk cId="1590670378" sldId="418"/>
        </pc:sldMkLst>
      </pc:sldChg>
      <pc:sldChg chg="del">
        <pc:chgData name="Solange Pose Garcia" userId="3d9a6d5646ebac6f" providerId="LiveId" clId="{FCF3946F-8045-4C62-9471-20A070809754}" dt="2024-03-07T13:01:39.439" v="333" actId="47"/>
        <pc:sldMkLst>
          <pc:docMk/>
          <pc:sldMk cId="3969353352" sldId="450"/>
        </pc:sldMkLst>
      </pc:sldChg>
      <pc:sldChg chg="modNotesTx">
        <pc:chgData name="Solange Pose Garcia" userId="3d9a6d5646ebac6f" providerId="LiveId" clId="{FCF3946F-8045-4C62-9471-20A070809754}" dt="2024-03-07T13:11:50.049" v="364" actId="6549"/>
        <pc:sldMkLst>
          <pc:docMk/>
          <pc:sldMk cId="1495935580" sldId="454"/>
        </pc:sldMkLst>
      </pc:sldChg>
      <pc:sldChg chg="del">
        <pc:chgData name="Solange Pose Garcia" userId="3d9a6d5646ebac6f" providerId="LiveId" clId="{FCF3946F-8045-4C62-9471-20A070809754}" dt="2024-03-07T13:06:18.146" v="343" actId="47"/>
        <pc:sldMkLst>
          <pc:docMk/>
          <pc:sldMk cId="3607569545" sldId="510"/>
        </pc:sldMkLst>
      </pc:sldChg>
      <pc:sldChg chg="del">
        <pc:chgData name="Solange Pose Garcia" userId="3d9a6d5646ebac6f" providerId="LiveId" clId="{FCF3946F-8045-4C62-9471-20A070809754}" dt="2024-03-07T12:48:09.155" v="210" actId="47"/>
        <pc:sldMkLst>
          <pc:docMk/>
          <pc:sldMk cId="138997000" sldId="511"/>
        </pc:sldMkLst>
      </pc:sldChg>
      <pc:sldChg chg="del">
        <pc:chgData name="Solange Pose Garcia" userId="3d9a6d5646ebac6f" providerId="LiveId" clId="{FCF3946F-8045-4C62-9471-20A070809754}" dt="2024-03-07T13:06:20.484" v="344" actId="47"/>
        <pc:sldMkLst>
          <pc:docMk/>
          <pc:sldMk cId="1928430920" sldId="512"/>
        </pc:sldMkLst>
      </pc:sldChg>
      <pc:sldChg chg="del">
        <pc:chgData name="Solange Pose Garcia" userId="3d9a6d5646ebac6f" providerId="LiveId" clId="{FCF3946F-8045-4C62-9471-20A070809754}" dt="2024-03-07T13:00:56.595" v="332" actId="47"/>
        <pc:sldMkLst>
          <pc:docMk/>
          <pc:sldMk cId="321120698" sldId="515"/>
        </pc:sldMkLst>
      </pc:sldChg>
      <pc:sldChg chg="del">
        <pc:chgData name="Solange Pose Garcia" userId="3d9a6d5646ebac6f" providerId="LiveId" clId="{FCF3946F-8045-4C62-9471-20A070809754}" dt="2024-03-07T12:38:02.849" v="3" actId="47"/>
        <pc:sldMkLst>
          <pc:docMk/>
          <pc:sldMk cId="2709675013" sldId="516"/>
        </pc:sldMkLst>
      </pc:sldChg>
      <pc:sldChg chg="del">
        <pc:chgData name="Solange Pose Garcia" userId="3d9a6d5646ebac6f" providerId="LiveId" clId="{FCF3946F-8045-4C62-9471-20A070809754}" dt="2024-03-07T13:00:56.595" v="332" actId="47"/>
        <pc:sldMkLst>
          <pc:docMk/>
          <pc:sldMk cId="2964937871" sldId="517"/>
        </pc:sldMkLst>
      </pc:sldChg>
      <pc:sldChg chg="del">
        <pc:chgData name="Solange Pose Garcia" userId="3d9a6d5646ebac6f" providerId="LiveId" clId="{FCF3946F-8045-4C62-9471-20A070809754}" dt="2024-03-07T13:00:56.595" v="332" actId="47"/>
        <pc:sldMkLst>
          <pc:docMk/>
          <pc:sldMk cId="2763261684" sldId="518"/>
        </pc:sldMkLst>
      </pc:sldChg>
      <pc:sldChg chg="del">
        <pc:chgData name="Solange Pose Garcia" userId="3d9a6d5646ebac6f" providerId="LiveId" clId="{FCF3946F-8045-4C62-9471-20A070809754}" dt="2024-03-07T13:00:56.595" v="332" actId="47"/>
        <pc:sldMkLst>
          <pc:docMk/>
          <pc:sldMk cId="4146150062" sldId="519"/>
        </pc:sldMkLst>
      </pc:sldChg>
      <pc:sldChg chg="del">
        <pc:chgData name="Solange Pose Garcia" userId="3d9a6d5646ebac6f" providerId="LiveId" clId="{FCF3946F-8045-4C62-9471-20A070809754}" dt="2024-03-07T13:00:56.595" v="332" actId="47"/>
        <pc:sldMkLst>
          <pc:docMk/>
          <pc:sldMk cId="1405094513" sldId="520"/>
        </pc:sldMkLst>
      </pc:sldChg>
      <pc:sldChg chg="del">
        <pc:chgData name="Solange Pose Garcia" userId="3d9a6d5646ebac6f" providerId="LiveId" clId="{FCF3946F-8045-4C62-9471-20A070809754}" dt="2024-03-07T13:06:23.752" v="345" actId="47"/>
        <pc:sldMkLst>
          <pc:docMk/>
          <pc:sldMk cId="2646622048" sldId="521"/>
        </pc:sldMkLst>
      </pc:sldChg>
      <pc:sldChg chg="modNotesTx">
        <pc:chgData name="Solange Pose Garcia" userId="3d9a6d5646ebac6f" providerId="LiveId" clId="{FCF3946F-8045-4C62-9471-20A070809754}" dt="2024-03-07T13:12:24.292" v="367" actId="6549"/>
        <pc:sldMkLst>
          <pc:docMk/>
          <pc:sldMk cId="951128443" sldId="523"/>
        </pc:sldMkLst>
      </pc:sldChg>
      <pc:sldChg chg="modNotesTx">
        <pc:chgData name="Solange Pose Garcia" userId="3d9a6d5646ebac6f" providerId="LiveId" clId="{FCF3946F-8045-4C62-9471-20A070809754}" dt="2024-03-07T13:12:28.815" v="368" actId="6549"/>
        <pc:sldMkLst>
          <pc:docMk/>
          <pc:sldMk cId="74174605" sldId="524"/>
        </pc:sldMkLst>
      </pc:sldChg>
      <pc:sldChg chg="modNotesTx">
        <pc:chgData name="Solange Pose Garcia" userId="3d9a6d5646ebac6f" providerId="LiveId" clId="{FCF3946F-8045-4C62-9471-20A070809754}" dt="2024-03-07T13:12:33.091" v="369" actId="6549"/>
        <pc:sldMkLst>
          <pc:docMk/>
          <pc:sldMk cId="2666712380" sldId="525"/>
        </pc:sldMkLst>
      </pc:sldChg>
      <pc:sldChg chg="modNotesTx">
        <pc:chgData name="Solange Pose Garcia" userId="3d9a6d5646ebac6f" providerId="LiveId" clId="{FCF3946F-8045-4C62-9471-20A070809754}" dt="2024-03-07T13:12:37.337" v="370" actId="6549"/>
        <pc:sldMkLst>
          <pc:docMk/>
          <pc:sldMk cId="1744812299" sldId="526"/>
        </pc:sldMkLst>
      </pc:sldChg>
      <pc:sldChg chg="modNotesTx">
        <pc:chgData name="Solange Pose Garcia" userId="3d9a6d5646ebac6f" providerId="LiveId" clId="{FCF3946F-8045-4C62-9471-20A070809754}" dt="2024-03-07T13:12:42.338" v="371" actId="6549"/>
        <pc:sldMkLst>
          <pc:docMk/>
          <pc:sldMk cId="3749078021" sldId="528"/>
        </pc:sldMkLst>
      </pc:sldChg>
      <pc:sldChg chg="modNotesTx">
        <pc:chgData name="Solange Pose Garcia" userId="3d9a6d5646ebac6f" providerId="LiveId" clId="{FCF3946F-8045-4C62-9471-20A070809754}" dt="2024-03-07T13:12:46.779" v="372" actId="6549"/>
        <pc:sldMkLst>
          <pc:docMk/>
          <pc:sldMk cId="2433611517" sldId="529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2953744125" sldId="530"/>
        </pc:sldMkLst>
      </pc:sldChg>
      <pc:sldChg chg="del">
        <pc:chgData name="Solange Pose Garcia" userId="3d9a6d5646ebac6f" providerId="LiveId" clId="{FCF3946F-8045-4C62-9471-20A070809754}" dt="2024-03-07T12:42:13.655" v="53" actId="47"/>
        <pc:sldMkLst>
          <pc:docMk/>
          <pc:sldMk cId="51446052" sldId="633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2578702326" sldId="635"/>
        </pc:sldMkLst>
      </pc:sldChg>
      <pc:sldChg chg="del">
        <pc:chgData name="Solange Pose Garcia" userId="3d9a6d5646ebac6f" providerId="LiveId" clId="{FCF3946F-8045-4C62-9471-20A070809754}" dt="2024-03-07T12:43:46.873" v="64" actId="47"/>
        <pc:sldMkLst>
          <pc:docMk/>
          <pc:sldMk cId="844260204" sldId="638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274138074" sldId="641"/>
        </pc:sldMkLst>
      </pc:sldChg>
      <pc:sldChg chg="delSp modSp add mod">
        <pc:chgData name="Solange Pose Garcia" userId="3d9a6d5646ebac6f" providerId="LiveId" clId="{FCF3946F-8045-4C62-9471-20A070809754}" dt="2024-03-07T13:00:00.717" v="326" actId="1076"/>
        <pc:sldMkLst>
          <pc:docMk/>
          <pc:sldMk cId="540396075" sldId="810"/>
        </pc:sldMkLst>
        <pc:spChg chg="del">
          <ac:chgData name="Solange Pose Garcia" userId="3d9a6d5646ebac6f" providerId="LiveId" clId="{FCF3946F-8045-4C62-9471-20A070809754}" dt="2024-03-07T12:59:46.516" v="324" actId="478"/>
          <ac:spMkLst>
            <pc:docMk/>
            <pc:sldMk cId="540396075" sldId="810"/>
            <ac:spMk id="2" creationId="{00000000-0000-0000-0000-000000000000}"/>
          </ac:spMkLst>
        </pc:spChg>
        <pc:spChg chg="mod">
          <ac:chgData name="Solange Pose Garcia" userId="3d9a6d5646ebac6f" providerId="LiveId" clId="{FCF3946F-8045-4C62-9471-20A070809754}" dt="2024-03-07T12:59:54.337" v="325" actId="1076"/>
          <ac:spMkLst>
            <pc:docMk/>
            <pc:sldMk cId="540396075" sldId="810"/>
            <ac:spMk id="4" creationId="{00000000-0000-0000-0000-000000000000}"/>
          </ac:spMkLst>
        </pc:spChg>
        <pc:spChg chg="mod">
          <ac:chgData name="Solange Pose Garcia" userId="3d9a6d5646ebac6f" providerId="LiveId" clId="{FCF3946F-8045-4C62-9471-20A070809754}" dt="2024-03-07T13:00:00.717" v="326" actId="1076"/>
          <ac:spMkLst>
            <pc:docMk/>
            <pc:sldMk cId="540396075" sldId="810"/>
            <ac:spMk id="5" creationId="{00000000-0000-0000-0000-000000000000}"/>
          </ac:spMkLst>
        </pc:spChg>
        <pc:picChg chg="mod">
          <ac:chgData name="Solange Pose Garcia" userId="3d9a6d5646ebac6f" providerId="LiveId" clId="{FCF3946F-8045-4C62-9471-20A070809754}" dt="2024-03-07T12:59:54.337" v="325" actId="1076"/>
          <ac:picMkLst>
            <pc:docMk/>
            <pc:sldMk cId="540396075" sldId="810"/>
            <ac:picMk id="3" creationId="{00000000-0000-0000-0000-000000000000}"/>
          </ac:picMkLst>
        </pc:picChg>
      </pc:sldChg>
      <pc:sldChg chg="del">
        <pc:chgData name="Solange Pose Garcia" userId="3d9a6d5646ebac6f" providerId="LiveId" clId="{FCF3946F-8045-4C62-9471-20A070809754}" dt="2024-03-07T12:43:42.292" v="63" actId="47"/>
        <pc:sldMkLst>
          <pc:docMk/>
          <pc:sldMk cId="3523728316" sldId="859"/>
        </pc:sldMkLst>
      </pc:sldChg>
      <pc:sldChg chg="delSp modSp add mod modNotes">
        <pc:chgData name="Solange Pose Garcia" userId="3d9a6d5646ebac6f" providerId="LiveId" clId="{FCF3946F-8045-4C62-9471-20A070809754}" dt="2024-03-07T12:41:05.451" v="46" actId="255"/>
        <pc:sldMkLst>
          <pc:docMk/>
          <pc:sldMk cId="1277589707" sldId="907"/>
        </pc:sldMkLst>
        <pc:spChg chg="mod">
          <ac:chgData name="Solange Pose Garcia" userId="3d9a6d5646ebac6f" providerId="LiveId" clId="{FCF3946F-8045-4C62-9471-20A070809754}" dt="2024-03-07T12:41:05.451" v="46" actId="255"/>
          <ac:spMkLst>
            <pc:docMk/>
            <pc:sldMk cId="1277589707" sldId="907"/>
            <ac:spMk id="14" creationId="{00000000-0000-0000-0000-000000000000}"/>
          </ac:spMkLst>
        </pc:spChg>
        <pc:picChg chg="del">
          <ac:chgData name="Solange Pose Garcia" userId="3d9a6d5646ebac6f" providerId="LiveId" clId="{FCF3946F-8045-4C62-9471-20A070809754}" dt="2024-03-07T12:40:20.566" v="37" actId="478"/>
          <ac:picMkLst>
            <pc:docMk/>
            <pc:sldMk cId="1277589707" sldId="907"/>
            <ac:picMk id="2" creationId="{D232264B-F78C-9018-0695-91972A5702AB}"/>
          </ac:picMkLst>
        </pc:picChg>
        <pc:picChg chg="mod">
          <ac:chgData name="Solange Pose Garcia" userId="3d9a6d5646ebac6f" providerId="LiveId" clId="{FCF3946F-8045-4C62-9471-20A070809754}" dt="2024-03-07T12:40:53.356" v="44" actId="1440"/>
          <ac:picMkLst>
            <pc:docMk/>
            <pc:sldMk cId="1277589707" sldId="907"/>
            <ac:picMk id="9" creationId="{00000000-0000-0000-0000-000000000000}"/>
          </ac:picMkLst>
        </pc:picChg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1661114775" sldId="934"/>
        </pc:sldMkLst>
      </pc:sldChg>
      <pc:sldChg chg="del">
        <pc:chgData name="Solange Pose Garcia" userId="3d9a6d5646ebac6f" providerId="LiveId" clId="{FCF3946F-8045-4C62-9471-20A070809754}" dt="2024-03-07T12:59:03.051" v="293" actId="47"/>
        <pc:sldMkLst>
          <pc:docMk/>
          <pc:sldMk cId="1855626029" sldId="1068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1095191396" sldId="1074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3920054880" sldId="1076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3155854376" sldId="1077"/>
        </pc:sldMkLst>
      </pc:sldChg>
      <pc:sldChg chg="del">
        <pc:chgData name="Solange Pose Garcia" userId="3d9a6d5646ebac6f" providerId="LiveId" clId="{FCF3946F-8045-4C62-9471-20A070809754}" dt="2024-03-07T12:57:37.819" v="283" actId="47"/>
        <pc:sldMkLst>
          <pc:docMk/>
          <pc:sldMk cId="4180779833" sldId="1158"/>
        </pc:sldMkLst>
      </pc:sldChg>
      <pc:sldChg chg="del">
        <pc:chgData name="Solange Pose Garcia" userId="3d9a6d5646ebac6f" providerId="LiveId" clId="{FCF3946F-8045-4C62-9471-20A070809754}" dt="2024-03-07T12:57:40.635" v="284" actId="47"/>
        <pc:sldMkLst>
          <pc:docMk/>
          <pc:sldMk cId="2373257736" sldId="1162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2552899438" sldId="1183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3232320310" sldId="1185"/>
        </pc:sldMkLst>
      </pc:sldChg>
      <pc:sldChg chg="del">
        <pc:chgData name="Solange Pose Garcia" userId="3d9a6d5646ebac6f" providerId="LiveId" clId="{FCF3946F-8045-4C62-9471-20A070809754}" dt="2024-03-07T13:00:16.108" v="329" actId="47"/>
        <pc:sldMkLst>
          <pc:docMk/>
          <pc:sldMk cId="1600201752" sldId="1186"/>
        </pc:sldMkLst>
      </pc:sldChg>
      <pc:sldChg chg="del">
        <pc:chgData name="Solange Pose Garcia" userId="3d9a6d5646ebac6f" providerId="LiveId" clId="{FCF3946F-8045-4C62-9471-20A070809754}" dt="2024-03-07T13:00:16.108" v="329" actId="47"/>
        <pc:sldMkLst>
          <pc:docMk/>
          <pc:sldMk cId="3397117587" sldId="1189"/>
        </pc:sldMkLst>
      </pc:sldChg>
      <pc:sldChg chg="del">
        <pc:chgData name="Solange Pose Garcia" userId="3d9a6d5646ebac6f" providerId="LiveId" clId="{FCF3946F-8045-4C62-9471-20A070809754}" dt="2024-03-07T12:43:22.385" v="61" actId="47"/>
        <pc:sldMkLst>
          <pc:docMk/>
          <pc:sldMk cId="2439576409" sldId="1190"/>
        </pc:sldMkLst>
      </pc:sldChg>
      <pc:sldChg chg="del">
        <pc:chgData name="Solange Pose Garcia" userId="3d9a6d5646ebac6f" providerId="LiveId" clId="{FCF3946F-8045-4C62-9471-20A070809754}" dt="2024-03-07T12:43:42.292" v="63" actId="47"/>
        <pc:sldMkLst>
          <pc:docMk/>
          <pc:sldMk cId="573661893" sldId="1215"/>
        </pc:sldMkLst>
      </pc:sldChg>
      <pc:sldChg chg="del">
        <pc:chgData name="Solange Pose Garcia" userId="3d9a6d5646ebac6f" providerId="LiveId" clId="{FCF3946F-8045-4C62-9471-20A070809754}" dt="2024-03-07T12:56:22.391" v="274" actId="47"/>
        <pc:sldMkLst>
          <pc:docMk/>
          <pc:sldMk cId="1848039379" sldId="1223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664558293" sldId="1237"/>
        </pc:sldMkLst>
      </pc:sldChg>
      <pc:sldChg chg="del">
        <pc:chgData name="Solange Pose Garcia" userId="3d9a6d5646ebac6f" providerId="LiveId" clId="{FCF3946F-8045-4C62-9471-20A070809754}" dt="2024-03-07T13:13:01.257" v="374" actId="47"/>
        <pc:sldMkLst>
          <pc:docMk/>
          <pc:sldMk cId="2583244713" sldId="1250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3760496346" sldId="1251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2281849670" sldId="1252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1352023806" sldId="1253"/>
        </pc:sldMkLst>
      </pc:sldChg>
      <pc:sldChg chg="del">
        <pc:chgData name="Solange Pose Garcia" userId="3d9a6d5646ebac6f" providerId="LiveId" clId="{FCF3946F-8045-4C62-9471-20A070809754}" dt="2024-03-07T12:54:06.961" v="262" actId="47"/>
        <pc:sldMkLst>
          <pc:docMk/>
          <pc:sldMk cId="1608867435" sldId="1261"/>
        </pc:sldMkLst>
      </pc:sldChg>
      <pc:sldChg chg="modNotesTx">
        <pc:chgData name="Solange Pose Garcia" userId="3d9a6d5646ebac6f" providerId="LiveId" clId="{FCF3946F-8045-4C62-9471-20A070809754}" dt="2024-03-07T13:13:06.313" v="375" actId="6549"/>
        <pc:sldMkLst>
          <pc:docMk/>
          <pc:sldMk cId="2384066447" sldId="1262"/>
        </pc:sldMkLst>
      </pc:sldChg>
      <pc:sldChg chg="modNotesTx">
        <pc:chgData name="Solange Pose Garcia" userId="3d9a6d5646ebac6f" providerId="LiveId" clId="{FCF3946F-8045-4C62-9471-20A070809754}" dt="2024-03-07T13:13:11.722" v="376" actId="6549"/>
        <pc:sldMkLst>
          <pc:docMk/>
          <pc:sldMk cId="1849198071" sldId="1263"/>
        </pc:sldMkLst>
      </pc:sldChg>
      <pc:sldChg chg="delSp mod delAnim modNotesTx">
        <pc:chgData name="Solange Pose Garcia" userId="3d9a6d5646ebac6f" providerId="LiveId" clId="{FCF3946F-8045-4C62-9471-20A070809754}" dt="2024-03-07T13:13:15.896" v="377" actId="6549"/>
        <pc:sldMkLst>
          <pc:docMk/>
          <pc:sldMk cId="1848041221" sldId="1264"/>
        </pc:sldMkLst>
        <pc:spChg chg="del">
          <ac:chgData name="Solange Pose Garcia" userId="3d9a6d5646ebac6f" providerId="LiveId" clId="{FCF3946F-8045-4C62-9471-20A070809754}" dt="2024-03-07T13:06:53.752" v="347" actId="478"/>
          <ac:spMkLst>
            <pc:docMk/>
            <pc:sldMk cId="1848041221" sldId="1264"/>
            <ac:spMk id="7" creationId="{BDECB019-FBFB-1360-4C6B-A3C620AA4B30}"/>
          </ac:spMkLst>
        </pc:spChg>
        <pc:spChg chg="del">
          <ac:chgData name="Solange Pose Garcia" userId="3d9a6d5646ebac6f" providerId="LiveId" clId="{FCF3946F-8045-4C62-9471-20A070809754}" dt="2024-03-07T13:06:50.457" v="346" actId="478"/>
          <ac:spMkLst>
            <pc:docMk/>
            <pc:sldMk cId="1848041221" sldId="1264"/>
            <ac:spMk id="9" creationId="{281B7521-6023-7B5D-6C77-1F4597B194BB}"/>
          </ac:spMkLst>
        </pc:spChg>
      </pc:sldChg>
      <pc:sldChg chg="del">
        <pc:chgData name="Solange Pose Garcia" userId="3d9a6d5646ebac6f" providerId="LiveId" clId="{FCF3946F-8045-4C62-9471-20A070809754}" dt="2024-03-07T13:00:16.108" v="329" actId="47"/>
        <pc:sldMkLst>
          <pc:docMk/>
          <pc:sldMk cId="2382684810" sldId="1267"/>
        </pc:sldMkLst>
      </pc:sldChg>
      <pc:sldChg chg="modNotesTx">
        <pc:chgData name="Solange Pose Garcia" userId="3d9a6d5646ebac6f" providerId="LiveId" clId="{FCF3946F-8045-4C62-9471-20A070809754}" dt="2024-03-07T13:13:24.057" v="378" actId="6549"/>
        <pc:sldMkLst>
          <pc:docMk/>
          <pc:sldMk cId="1188842283" sldId="1272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3781942389" sldId="1273"/>
        </pc:sldMkLst>
      </pc:sldChg>
      <pc:sldChg chg="modNotesTx">
        <pc:chgData name="Solange Pose Garcia" userId="3d9a6d5646ebac6f" providerId="LiveId" clId="{FCF3946F-8045-4C62-9471-20A070809754}" dt="2024-03-07T13:13:41.594" v="381" actId="6549"/>
        <pc:sldMkLst>
          <pc:docMk/>
          <pc:sldMk cId="2157152631" sldId="1289"/>
        </pc:sldMkLst>
      </pc:sldChg>
      <pc:sldChg chg="del">
        <pc:chgData name="Solange Pose Garcia" userId="3d9a6d5646ebac6f" providerId="LiveId" clId="{FCF3946F-8045-4C62-9471-20A070809754}" dt="2024-03-07T12:55:27.231" v="269" actId="47"/>
        <pc:sldMkLst>
          <pc:docMk/>
          <pc:sldMk cId="3318672975" sldId="1290"/>
        </pc:sldMkLst>
      </pc:sldChg>
      <pc:sldChg chg="del">
        <pc:chgData name="Solange Pose Garcia" userId="3d9a6d5646ebac6f" providerId="LiveId" clId="{FCF3946F-8045-4C62-9471-20A070809754}" dt="2024-03-07T12:54:55.695" v="267" actId="47"/>
        <pc:sldMkLst>
          <pc:docMk/>
          <pc:sldMk cId="1635304493" sldId="1292"/>
        </pc:sldMkLst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3136332064" sldId="1296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2905796612" sldId="1329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2456126998" sldId="1330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2463384084" sldId="1331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246355453" sldId="1332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3865048202" sldId="1333"/>
        </pc:sldMkLst>
      </pc:sldChg>
      <pc:sldChg chg="del">
        <pc:chgData name="Solange Pose Garcia" userId="3d9a6d5646ebac6f" providerId="LiveId" clId="{FCF3946F-8045-4C62-9471-20A070809754}" dt="2024-03-07T12:37:57.969" v="2" actId="47"/>
        <pc:sldMkLst>
          <pc:docMk/>
          <pc:sldMk cId="3562366023" sldId="1334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4037699232" sldId="1335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295475261" sldId="1337"/>
        </pc:sldMkLst>
      </pc:sldChg>
      <pc:sldChg chg="del">
        <pc:chgData name="Solange Pose Garcia" userId="3d9a6d5646ebac6f" providerId="LiveId" clId="{FCF3946F-8045-4C62-9471-20A070809754}" dt="2024-03-07T12:37:50.625" v="0" actId="47"/>
        <pc:sldMkLst>
          <pc:docMk/>
          <pc:sldMk cId="1619666659" sldId="1339"/>
        </pc:sldMkLst>
      </pc:sldChg>
      <pc:sldChg chg="modSp mod">
        <pc:chgData name="Solange Pose Garcia" userId="3d9a6d5646ebac6f" providerId="LiveId" clId="{FCF3946F-8045-4C62-9471-20A070809754}" dt="2024-03-07T13:03:19.768" v="336" actId="20577"/>
        <pc:sldMkLst>
          <pc:docMk/>
          <pc:sldMk cId="882906810" sldId="1341"/>
        </pc:sldMkLst>
        <pc:spChg chg="mod">
          <ac:chgData name="Solange Pose Garcia" userId="3d9a6d5646ebac6f" providerId="LiveId" clId="{FCF3946F-8045-4C62-9471-20A070809754}" dt="2024-03-07T13:03:19.768" v="336" actId="20577"/>
          <ac:spMkLst>
            <pc:docMk/>
            <pc:sldMk cId="882906810" sldId="1341"/>
            <ac:spMk id="9" creationId="{00000000-0000-0000-0000-000000000000}"/>
          </ac:spMkLst>
        </pc:spChg>
      </pc:sldChg>
      <pc:sldChg chg="del">
        <pc:chgData name="Solange Pose Garcia" userId="3d9a6d5646ebac6f" providerId="LiveId" clId="{FCF3946F-8045-4C62-9471-20A070809754}" dt="2024-03-07T12:38:42.984" v="30" actId="47"/>
        <pc:sldMkLst>
          <pc:docMk/>
          <pc:sldMk cId="2582386060" sldId="1358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658760189" sldId="1364"/>
        </pc:sldMkLst>
      </pc:sldChg>
      <pc:sldChg chg="delSp mod delAnim">
        <pc:chgData name="Solange Pose Garcia" userId="3d9a6d5646ebac6f" providerId="LiveId" clId="{FCF3946F-8045-4C62-9471-20A070809754}" dt="2024-03-07T13:04:35.373" v="340" actId="478"/>
        <pc:sldMkLst>
          <pc:docMk/>
          <pc:sldMk cId="1496748235" sldId="1373"/>
        </pc:sldMkLst>
        <pc:spChg chg="del">
          <ac:chgData name="Solange Pose Garcia" userId="3d9a6d5646ebac6f" providerId="LiveId" clId="{FCF3946F-8045-4C62-9471-20A070809754}" dt="2024-03-07T13:04:35.373" v="340" actId="478"/>
          <ac:spMkLst>
            <pc:docMk/>
            <pc:sldMk cId="1496748235" sldId="1373"/>
            <ac:spMk id="4" creationId="{532EB6EF-491B-D122-7FC2-457751F1E27B}"/>
          </ac:spMkLst>
        </pc:spChg>
      </pc:sldChg>
      <pc:sldChg chg="modSp modAnim">
        <pc:chgData name="Solange Pose Garcia" userId="3d9a6d5646ebac6f" providerId="LiveId" clId="{FCF3946F-8045-4C62-9471-20A070809754}" dt="2024-03-07T13:02:01.591" v="334" actId="6549"/>
        <pc:sldMkLst>
          <pc:docMk/>
          <pc:sldMk cId="1824426236" sldId="1385"/>
        </pc:sldMkLst>
        <pc:spChg chg="mod">
          <ac:chgData name="Solange Pose Garcia" userId="3d9a6d5646ebac6f" providerId="LiveId" clId="{FCF3946F-8045-4C62-9471-20A070809754}" dt="2024-03-07T13:02:01.591" v="334" actId="6549"/>
          <ac:spMkLst>
            <pc:docMk/>
            <pc:sldMk cId="1824426236" sldId="1385"/>
            <ac:spMk id="10" creationId="{00000000-0000-0000-0000-000000000000}"/>
          </ac:spMkLst>
        </pc:spChg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3498790304" sldId="1388"/>
        </pc:sldMkLst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1753485948" sldId="1395"/>
        </pc:sldMkLst>
      </pc:sldChg>
      <pc:sldChg chg="modNotesTx">
        <pc:chgData name="Solange Pose Garcia" userId="3d9a6d5646ebac6f" providerId="LiveId" clId="{FCF3946F-8045-4C62-9471-20A070809754}" dt="2024-03-07T13:14:40.295" v="383" actId="6549"/>
        <pc:sldMkLst>
          <pc:docMk/>
          <pc:sldMk cId="94980804" sldId="1397"/>
        </pc:sldMkLst>
      </pc:sldChg>
      <pc:sldChg chg="del">
        <pc:chgData name="Solange Pose Garcia" userId="3d9a6d5646ebac6f" providerId="LiveId" clId="{FCF3946F-8045-4C62-9471-20A070809754}" dt="2024-03-07T12:56:58.663" v="277" actId="47"/>
        <pc:sldMkLst>
          <pc:docMk/>
          <pc:sldMk cId="338879658" sldId="1398"/>
        </pc:sldMkLst>
      </pc:sldChg>
      <pc:sldChg chg="modNotesTx">
        <pc:chgData name="Solange Pose Garcia" userId="3d9a6d5646ebac6f" providerId="LiveId" clId="{FCF3946F-8045-4C62-9471-20A070809754}" dt="2024-03-07T13:14:44.705" v="384" actId="6549"/>
        <pc:sldMkLst>
          <pc:docMk/>
          <pc:sldMk cId="1358344275" sldId="1399"/>
        </pc:sldMkLst>
      </pc:sldChg>
      <pc:sldChg chg="del">
        <pc:chgData name="Solange Pose Garcia" userId="3d9a6d5646ebac6f" providerId="LiveId" clId="{FCF3946F-8045-4C62-9471-20A070809754}" dt="2024-03-07T12:57:17.799" v="278" actId="47"/>
        <pc:sldMkLst>
          <pc:docMk/>
          <pc:sldMk cId="3256735465" sldId="1400"/>
        </pc:sldMkLst>
      </pc:sldChg>
      <pc:sldChg chg="modNotesTx">
        <pc:chgData name="Solange Pose Garcia" userId="3d9a6d5646ebac6f" providerId="LiveId" clId="{FCF3946F-8045-4C62-9471-20A070809754}" dt="2024-03-07T13:14:51.611" v="385" actId="6549"/>
        <pc:sldMkLst>
          <pc:docMk/>
          <pc:sldMk cId="969131078" sldId="1402"/>
        </pc:sldMkLst>
      </pc:sldChg>
      <pc:sldChg chg="modNotesTx">
        <pc:chgData name="Solange Pose Garcia" userId="3d9a6d5646ebac6f" providerId="LiveId" clId="{FCF3946F-8045-4C62-9471-20A070809754}" dt="2024-03-07T13:15:04.307" v="386" actId="6549"/>
        <pc:sldMkLst>
          <pc:docMk/>
          <pc:sldMk cId="1845170801" sldId="1403"/>
        </pc:sldMkLst>
      </pc:sldChg>
      <pc:sldChg chg="del">
        <pc:chgData name="Solange Pose Garcia" userId="3d9a6d5646ebac6f" providerId="LiveId" clId="{FCF3946F-8045-4C62-9471-20A070809754}" dt="2024-03-07T12:57:30.363" v="280" actId="47"/>
        <pc:sldMkLst>
          <pc:docMk/>
          <pc:sldMk cId="1180797338" sldId="1404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813109193" sldId="1405"/>
        </pc:sldMkLst>
      </pc:sldChg>
      <pc:sldChg chg="modNotesTx">
        <pc:chgData name="Solange Pose Garcia" userId="3d9a6d5646ebac6f" providerId="LiveId" clId="{FCF3946F-8045-4C62-9471-20A070809754}" dt="2024-03-07T13:15:18.651" v="387" actId="6549"/>
        <pc:sldMkLst>
          <pc:docMk/>
          <pc:sldMk cId="1691262907" sldId="1406"/>
        </pc:sldMkLst>
      </pc:sldChg>
      <pc:sldChg chg="del">
        <pc:chgData name="Solange Pose Garcia" userId="3d9a6d5646ebac6f" providerId="LiveId" clId="{FCF3946F-8045-4C62-9471-20A070809754}" dt="2024-03-07T12:57:33.095" v="281" actId="47"/>
        <pc:sldMkLst>
          <pc:docMk/>
          <pc:sldMk cId="1547979210" sldId="1407"/>
        </pc:sldMkLst>
      </pc:sldChg>
      <pc:sldChg chg="modNotesTx">
        <pc:chgData name="Solange Pose Garcia" userId="3d9a6d5646ebac6f" providerId="LiveId" clId="{FCF3946F-8045-4C62-9471-20A070809754}" dt="2024-03-07T13:15:24.207" v="388" actId="6549"/>
        <pc:sldMkLst>
          <pc:docMk/>
          <pc:sldMk cId="1586742847" sldId="1408"/>
        </pc:sldMkLst>
      </pc:sldChg>
      <pc:sldChg chg="modNotesTx">
        <pc:chgData name="Solange Pose Garcia" userId="3d9a6d5646ebac6f" providerId="LiveId" clId="{FCF3946F-8045-4C62-9471-20A070809754}" dt="2024-03-07T13:15:32.782" v="389" actId="6549"/>
        <pc:sldMkLst>
          <pc:docMk/>
          <pc:sldMk cId="802399436" sldId="1409"/>
        </pc:sldMkLst>
      </pc:sldChg>
      <pc:sldChg chg="modNotesTx">
        <pc:chgData name="Solange Pose Garcia" userId="3d9a6d5646ebac6f" providerId="LiveId" clId="{FCF3946F-8045-4C62-9471-20A070809754}" dt="2024-03-07T13:15:45.204" v="390" actId="6549"/>
        <pc:sldMkLst>
          <pc:docMk/>
          <pc:sldMk cId="134462643" sldId="1412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4190684807" sldId="1415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507797291" sldId="1417"/>
        </pc:sldMkLst>
      </pc:sldChg>
      <pc:sldChg chg="del">
        <pc:chgData name="Solange Pose Garcia" userId="3d9a6d5646ebac6f" providerId="LiveId" clId="{FCF3946F-8045-4C62-9471-20A070809754}" dt="2024-03-07T13:07:33.157" v="349" actId="47"/>
        <pc:sldMkLst>
          <pc:docMk/>
          <pc:sldMk cId="2089430955" sldId="1418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2258838520" sldId="1425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741277401" sldId="1426"/>
        </pc:sldMkLst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3649767960" sldId="1438"/>
        </pc:sldMkLst>
      </pc:sldChg>
      <pc:sldChg chg="del">
        <pc:chgData name="Solange Pose Garcia" userId="3d9a6d5646ebac6f" providerId="LiveId" clId="{FCF3946F-8045-4C62-9471-20A070809754}" dt="2024-03-07T12:57:45.883" v="285" actId="47"/>
        <pc:sldMkLst>
          <pc:docMk/>
          <pc:sldMk cId="3509375223" sldId="1447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65492780" sldId="1451"/>
        </pc:sldMkLst>
      </pc:sldChg>
      <pc:sldChg chg="del">
        <pc:chgData name="Solange Pose Garcia" userId="3d9a6d5646ebac6f" providerId="LiveId" clId="{FCF3946F-8045-4C62-9471-20A070809754}" dt="2024-03-07T12:57:45.883" v="285" actId="47"/>
        <pc:sldMkLst>
          <pc:docMk/>
          <pc:sldMk cId="2656633761" sldId="1452"/>
        </pc:sldMkLst>
      </pc:sldChg>
      <pc:sldChg chg="del">
        <pc:chgData name="Solange Pose Garcia" userId="3d9a6d5646ebac6f" providerId="LiveId" clId="{FCF3946F-8045-4C62-9471-20A070809754}" dt="2024-03-07T12:57:45.883" v="285" actId="47"/>
        <pc:sldMkLst>
          <pc:docMk/>
          <pc:sldMk cId="1570253832" sldId="1453"/>
        </pc:sldMkLst>
      </pc:sldChg>
      <pc:sldChg chg="del">
        <pc:chgData name="Solange Pose Garcia" userId="3d9a6d5646ebac6f" providerId="LiveId" clId="{FCF3946F-8045-4C62-9471-20A070809754}" dt="2024-03-07T12:57:45.883" v="285" actId="47"/>
        <pc:sldMkLst>
          <pc:docMk/>
          <pc:sldMk cId="2225599098" sldId="1454"/>
        </pc:sldMkLst>
      </pc:sldChg>
      <pc:sldChg chg="del">
        <pc:chgData name="Solange Pose Garcia" userId="3d9a6d5646ebac6f" providerId="LiveId" clId="{FCF3946F-8045-4C62-9471-20A070809754}" dt="2024-03-07T12:57:45.883" v="285" actId="47"/>
        <pc:sldMkLst>
          <pc:docMk/>
          <pc:sldMk cId="1076714825" sldId="1455"/>
        </pc:sldMkLst>
      </pc:sldChg>
      <pc:sldChg chg="modNotesTx">
        <pc:chgData name="Solange Pose Garcia" userId="3d9a6d5646ebac6f" providerId="LiveId" clId="{FCF3946F-8045-4C62-9471-20A070809754}" dt="2024-03-07T13:13:28.375" v="379" actId="6549"/>
        <pc:sldMkLst>
          <pc:docMk/>
          <pc:sldMk cId="2769588044" sldId="1456"/>
        </pc:sldMkLst>
      </pc:sldChg>
      <pc:sldChg chg="del">
        <pc:chgData name="Solange Pose Garcia" userId="3d9a6d5646ebac6f" providerId="LiveId" clId="{FCF3946F-8045-4C62-9471-20A070809754}" dt="2024-03-07T12:54:50.800" v="266" actId="47"/>
        <pc:sldMkLst>
          <pc:docMk/>
          <pc:sldMk cId="2939441039" sldId="1457"/>
        </pc:sldMkLst>
      </pc:sldChg>
      <pc:sldChg chg="modNotesTx">
        <pc:chgData name="Solange Pose Garcia" userId="3d9a6d5646ebac6f" providerId="LiveId" clId="{FCF3946F-8045-4C62-9471-20A070809754}" dt="2024-03-07T13:13:33.340" v="380" actId="6549"/>
        <pc:sldMkLst>
          <pc:docMk/>
          <pc:sldMk cId="2676550819" sldId="1458"/>
        </pc:sldMkLst>
      </pc:sldChg>
      <pc:sldChg chg="del">
        <pc:chgData name="Solange Pose Garcia" userId="3d9a6d5646ebac6f" providerId="LiveId" clId="{FCF3946F-8045-4C62-9471-20A070809754}" dt="2024-03-07T12:38:51.192" v="31" actId="47"/>
        <pc:sldMkLst>
          <pc:docMk/>
          <pc:sldMk cId="936953278" sldId="1459"/>
        </pc:sldMkLst>
      </pc:sldChg>
      <pc:sldChg chg="del">
        <pc:chgData name="Solange Pose Garcia" userId="3d9a6d5646ebac6f" providerId="LiveId" clId="{FCF3946F-8045-4C62-9471-20A070809754}" dt="2024-03-07T12:38:51.192" v="31" actId="47"/>
        <pc:sldMkLst>
          <pc:docMk/>
          <pc:sldMk cId="3571315127" sldId="1461"/>
        </pc:sldMkLst>
      </pc:sldChg>
      <pc:sldChg chg="del">
        <pc:chgData name="Solange Pose Garcia" userId="3d9a6d5646ebac6f" providerId="LiveId" clId="{FCF3946F-8045-4C62-9471-20A070809754}" dt="2024-03-07T12:59:03.051" v="293" actId="47"/>
        <pc:sldMkLst>
          <pc:docMk/>
          <pc:sldMk cId="1410209248" sldId="1462"/>
        </pc:sldMkLst>
      </pc:sldChg>
      <pc:sldChg chg="del">
        <pc:chgData name="Solange Pose Garcia" userId="3d9a6d5646ebac6f" providerId="LiveId" clId="{FCF3946F-8045-4C62-9471-20A070809754}" dt="2024-03-07T12:59:03.051" v="293" actId="47"/>
        <pc:sldMkLst>
          <pc:docMk/>
          <pc:sldMk cId="1931056661" sldId="1463"/>
        </pc:sldMkLst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264968452" sldId="1476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2250798996" sldId="1486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1407153308" sldId="1525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1698596206" sldId="1533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1860943515" sldId="1676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695391115" sldId="1681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1416287990" sldId="1682"/>
        </pc:sldMkLst>
      </pc:sldChg>
      <pc:sldChg chg="del">
        <pc:chgData name="Solange Pose Garcia" userId="3d9a6d5646ebac6f" providerId="LiveId" clId="{FCF3946F-8045-4C62-9471-20A070809754}" dt="2024-03-07T13:02:24.112" v="335" actId="47"/>
        <pc:sldMkLst>
          <pc:docMk/>
          <pc:sldMk cId="2815985485" sldId="1842"/>
        </pc:sldMkLst>
      </pc:sldChg>
      <pc:sldChg chg="del">
        <pc:chgData name="Solange Pose Garcia" userId="3d9a6d5646ebac6f" providerId="LiveId" clId="{FCF3946F-8045-4C62-9471-20A070809754}" dt="2024-03-07T12:41:16.177" v="49" actId="47"/>
        <pc:sldMkLst>
          <pc:docMk/>
          <pc:sldMk cId="3838738772" sldId="1944"/>
        </pc:sldMkLst>
      </pc:sldChg>
      <pc:sldChg chg="delSp mod delAnim">
        <pc:chgData name="Solange Pose Garcia" userId="3d9a6d5646ebac6f" providerId="LiveId" clId="{FCF3946F-8045-4C62-9471-20A070809754}" dt="2024-03-07T13:03:58.048" v="338" actId="478"/>
        <pc:sldMkLst>
          <pc:docMk/>
          <pc:sldMk cId="2732076428" sldId="1947"/>
        </pc:sldMkLst>
        <pc:spChg chg="del">
          <ac:chgData name="Solange Pose Garcia" userId="3d9a6d5646ebac6f" providerId="LiveId" clId="{FCF3946F-8045-4C62-9471-20A070809754}" dt="2024-03-07T13:03:58.048" v="338" actId="478"/>
          <ac:spMkLst>
            <pc:docMk/>
            <pc:sldMk cId="2732076428" sldId="1947"/>
            <ac:spMk id="18" creationId="{8E4AD61F-316E-D773-BE2A-0DF55CF2509C}"/>
          </ac:spMkLst>
        </pc:spChg>
        <pc:picChg chg="del">
          <ac:chgData name="Solange Pose Garcia" userId="3d9a6d5646ebac6f" providerId="LiveId" clId="{FCF3946F-8045-4C62-9471-20A070809754}" dt="2024-03-07T13:03:51.130" v="337" actId="478"/>
          <ac:picMkLst>
            <pc:docMk/>
            <pc:sldMk cId="2732076428" sldId="1947"/>
            <ac:picMk id="4" creationId="{82F36BD9-96F6-45F0-A034-82C4D58BC921}"/>
          </ac:picMkLst>
        </pc:picChg>
      </pc:sldChg>
      <pc:sldChg chg="modNotesTx">
        <pc:chgData name="Solange Pose Garcia" userId="3d9a6d5646ebac6f" providerId="LiveId" clId="{FCF3946F-8045-4C62-9471-20A070809754}" dt="2024-03-07T13:10:28.264" v="357" actId="6549"/>
        <pc:sldMkLst>
          <pc:docMk/>
          <pc:sldMk cId="96678015" sldId="2045"/>
        </pc:sldMkLst>
      </pc:sldChg>
      <pc:sldChg chg="modNotesTx">
        <pc:chgData name="Solange Pose Garcia" userId="3d9a6d5646ebac6f" providerId="LiveId" clId="{FCF3946F-8045-4C62-9471-20A070809754}" dt="2024-03-07T13:10:37.088" v="359" actId="6549"/>
        <pc:sldMkLst>
          <pc:docMk/>
          <pc:sldMk cId="960398516" sldId="2046"/>
        </pc:sldMkLst>
      </pc:sldChg>
      <pc:sldChg chg="modNotesTx">
        <pc:chgData name="Solange Pose Garcia" userId="3d9a6d5646ebac6f" providerId="LiveId" clId="{FCF3946F-8045-4C62-9471-20A070809754}" dt="2024-03-07T13:10:32.246" v="358" actId="6549"/>
        <pc:sldMkLst>
          <pc:docMk/>
          <pc:sldMk cId="1450212580" sldId="2053"/>
        </pc:sldMkLst>
      </pc:sldChg>
      <pc:sldChg chg="modNotesTx">
        <pc:chgData name="Solange Pose Garcia" userId="3d9a6d5646ebac6f" providerId="LiveId" clId="{FCF3946F-8045-4C62-9471-20A070809754}" dt="2024-03-07T13:10:08.756" v="356" actId="6549"/>
        <pc:sldMkLst>
          <pc:docMk/>
          <pc:sldMk cId="1753005529" sldId="2086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3593186599" sldId="2148"/>
        </pc:sldMkLst>
      </pc:sldChg>
      <pc:sldChg chg="delSp del mod delAnim">
        <pc:chgData name="Solange Pose Garcia" userId="3d9a6d5646ebac6f" providerId="LiveId" clId="{FCF3946F-8045-4C62-9471-20A070809754}" dt="2024-03-07T12:53:35.709" v="257" actId="47"/>
        <pc:sldMkLst>
          <pc:docMk/>
          <pc:sldMk cId="2682936972" sldId="2246"/>
        </pc:sldMkLst>
        <pc:spChg chg="del">
          <ac:chgData name="Solange Pose Garcia" userId="3d9a6d5646ebac6f" providerId="LiveId" clId="{FCF3946F-8045-4C62-9471-20A070809754}" dt="2024-03-07T12:53:32.410" v="256" actId="478"/>
          <ac:spMkLst>
            <pc:docMk/>
            <pc:sldMk cId="2682936972" sldId="2246"/>
            <ac:spMk id="3" creationId="{C8692671-A9DE-084E-B38E-A4939C5BB9E8}"/>
          </ac:spMkLst>
        </pc:spChg>
        <pc:spChg chg="del">
          <ac:chgData name="Solange Pose Garcia" userId="3d9a6d5646ebac6f" providerId="LiveId" clId="{FCF3946F-8045-4C62-9471-20A070809754}" dt="2024-03-07T12:53:32.410" v="256" actId="478"/>
          <ac:spMkLst>
            <pc:docMk/>
            <pc:sldMk cId="2682936972" sldId="2246"/>
            <ac:spMk id="5" creationId="{E27BD354-2C2F-DA96-B3D3-3D7B9F374E93}"/>
          </ac:spMkLst>
        </pc:spChg>
        <pc:spChg chg="del">
          <ac:chgData name="Solange Pose Garcia" userId="3d9a6d5646ebac6f" providerId="LiveId" clId="{FCF3946F-8045-4C62-9471-20A070809754}" dt="2024-03-07T12:53:32.410" v="256" actId="478"/>
          <ac:spMkLst>
            <pc:docMk/>
            <pc:sldMk cId="2682936972" sldId="2246"/>
            <ac:spMk id="15" creationId="{E95BDB5F-95F4-C946-9379-E258E2CDA6CB}"/>
          </ac:spMkLst>
        </pc:spChg>
        <pc:spChg chg="del">
          <ac:chgData name="Solange Pose Garcia" userId="3d9a6d5646ebac6f" providerId="LiveId" clId="{FCF3946F-8045-4C62-9471-20A070809754}" dt="2024-03-07T12:53:32.410" v="256" actId="478"/>
          <ac:spMkLst>
            <pc:docMk/>
            <pc:sldMk cId="2682936972" sldId="2246"/>
            <ac:spMk id="23" creationId="{00000000-0000-0000-0000-000000000000}"/>
          </ac:spMkLst>
        </pc:spChg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4110078620" sldId="2247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002352471" sldId="2248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301642578" sldId="2249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2535739305" sldId="2250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2622263391" sldId="2251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2012438553" sldId="2253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950375306" sldId="2254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316296553" sldId="2255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112142983" sldId="2315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884384427" sldId="2316"/>
        </pc:sldMkLst>
      </pc:sldChg>
      <pc:sldChg chg="del">
        <pc:chgData name="Solange Pose Garcia" userId="3d9a6d5646ebac6f" providerId="LiveId" clId="{FCF3946F-8045-4C62-9471-20A070809754}" dt="2024-03-07T12:38:51.192" v="31" actId="47"/>
        <pc:sldMkLst>
          <pc:docMk/>
          <pc:sldMk cId="1215072555" sldId="2318"/>
        </pc:sldMkLst>
      </pc:sldChg>
      <pc:sldChg chg="del">
        <pc:chgData name="Solange Pose Garcia" userId="3d9a6d5646ebac6f" providerId="LiveId" clId="{FCF3946F-8045-4C62-9471-20A070809754}" dt="2024-03-07T12:38:51.192" v="31" actId="47"/>
        <pc:sldMkLst>
          <pc:docMk/>
          <pc:sldMk cId="3568806644" sldId="2319"/>
        </pc:sldMkLst>
      </pc:sldChg>
      <pc:sldChg chg="del">
        <pc:chgData name="Solange Pose Garcia" userId="3d9a6d5646ebac6f" providerId="LiveId" clId="{FCF3946F-8045-4C62-9471-20A070809754}" dt="2024-03-07T12:38:51.192" v="31" actId="47"/>
        <pc:sldMkLst>
          <pc:docMk/>
          <pc:sldMk cId="3196063633" sldId="2320"/>
        </pc:sldMkLst>
      </pc:sldChg>
      <pc:sldChg chg="del">
        <pc:chgData name="Solange Pose Garcia" userId="3d9a6d5646ebac6f" providerId="LiveId" clId="{FCF3946F-8045-4C62-9471-20A070809754}" dt="2024-03-07T12:38:51.192" v="31" actId="47"/>
        <pc:sldMkLst>
          <pc:docMk/>
          <pc:sldMk cId="1014528284" sldId="2321"/>
        </pc:sldMkLst>
      </pc:sldChg>
      <pc:sldChg chg="del">
        <pc:chgData name="Solange Pose Garcia" userId="3d9a6d5646ebac6f" providerId="LiveId" clId="{FCF3946F-8045-4C62-9471-20A070809754}" dt="2024-03-07T13:00:56.595" v="332" actId="47"/>
        <pc:sldMkLst>
          <pc:docMk/>
          <pc:sldMk cId="1425431723" sldId="2337"/>
        </pc:sldMkLst>
      </pc:sldChg>
      <pc:sldChg chg="delSp modSp mod delAnim">
        <pc:chgData name="Solange Pose Garcia" userId="3d9a6d5646ebac6f" providerId="LiveId" clId="{FCF3946F-8045-4C62-9471-20A070809754}" dt="2024-03-07T12:44:26.496" v="72" actId="478"/>
        <pc:sldMkLst>
          <pc:docMk/>
          <pc:sldMk cId="2223960980" sldId="2342"/>
        </pc:sldMkLst>
        <pc:spChg chg="del mod">
          <ac:chgData name="Solange Pose Garcia" userId="3d9a6d5646ebac6f" providerId="LiveId" clId="{FCF3946F-8045-4C62-9471-20A070809754}" dt="2024-03-07T12:44:26.496" v="72" actId="478"/>
          <ac:spMkLst>
            <pc:docMk/>
            <pc:sldMk cId="2223960980" sldId="2342"/>
            <ac:spMk id="7" creationId="{A994C1BB-ABBA-F773-D661-A3F4565243BD}"/>
          </ac:spMkLst>
        </pc:spChg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1034351649" sldId="2797"/>
        </pc:sldMkLst>
      </pc:sldChg>
      <pc:sldChg chg="del">
        <pc:chgData name="Solange Pose Garcia" userId="3d9a6d5646ebac6f" providerId="LiveId" clId="{FCF3946F-8045-4C62-9471-20A070809754}" dt="2024-03-07T12:57:26.479" v="279" actId="47"/>
        <pc:sldMkLst>
          <pc:docMk/>
          <pc:sldMk cId="2604741624" sldId="2800"/>
        </pc:sldMkLst>
      </pc:sldChg>
      <pc:sldChg chg="del">
        <pc:chgData name="Solange Pose Garcia" userId="3d9a6d5646ebac6f" providerId="LiveId" clId="{FCF3946F-8045-4C62-9471-20A070809754}" dt="2024-03-07T13:09:08.653" v="354" actId="47"/>
        <pc:sldMkLst>
          <pc:docMk/>
          <pc:sldMk cId="214519606" sldId="2801"/>
        </pc:sldMkLst>
      </pc:sldChg>
      <pc:sldChg chg="del">
        <pc:chgData name="Solange Pose Garcia" userId="3d9a6d5646ebac6f" providerId="LiveId" clId="{FCF3946F-8045-4C62-9471-20A070809754}" dt="2024-03-07T13:07:38.047" v="350" actId="47"/>
        <pc:sldMkLst>
          <pc:docMk/>
          <pc:sldMk cId="4268204416" sldId="2838"/>
        </pc:sldMkLst>
      </pc:sldChg>
      <pc:sldChg chg="del">
        <pc:chgData name="Solange Pose Garcia" userId="3d9a6d5646ebac6f" providerId="LiveId" clId="{FCF3946F-8045-4C62-9471-20A070809754}" dt="2024-03-07T12:37:55.945" v="1" actId="47"/>
        <pc:sldMkLst>
          <pc:docMk/>
          <pc:sldMk cId="3053208222" sldId="2898"/>
        </pc:sldMkLst>
      </pc:sldChg>
      <pc:sldChg chg="del">
        <pc:chgData name="Solange Pose Garcia" userId="3d9a6d5646ebac6f" providerId="LiveId" clId="{FCF3946F-8045-4C62-9471-20A070809754}" dt="2024-03-07T12:38:57.922" v="33" actId="47"/>
        <pc:sldMkLst>
          <pc:docMk/>
          <pc:sldMk cId="1503590878" sldId="2906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3274843680" sldId="2908"/>
        </pc:sldMkLst>
      </pc:sldChg>
      <pc:sldChg chg="del">
        <pc:chgData name="Solange Pose Garcia" userId="3d9a6d5646ebac6f" providerId="LiveId" clId="{FCF3946F-8045-4C62-9471-20A070809754}" dt="2024-03-07T12:53:42.350" v="258" actId="47"/>
        <pc:sldMkLst>
          <pc:docMk/>
          <pc:sldMk cId="1007661819" sldId="2909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429323988" sldId="2990"/>
        </pc:sldMkLst>
      </pc:sldChg>
      <pc:sldChg chg="del">
        <pc:chgData name="Solange Pose Garcia" userId="3d9a6d5646ebac6f" providerId="LiveId" clId="{FCF3946F-8045-4C62-9471-20A070809754}" dt="2024-03-07T12:54:03.013" v="261" actId="47"/>
        <pc:sldMkLst>
          <pc:docMk/>
          <pc:sldMk cId="3953753525" sldId="2991"/>
        </pc:sldMkLst>
      </pc:sldChg>
      <pc:sldChg chg="del">
        <pc:chgData name="Solange Pose Garcia" userId="3d9a6d5646ebac6f" providerId="LiveId" clId="{FCF3946F-8045-4C62-9471-20A070809754}" dt="2024-03-07T12:58:18.015" v="286" actId="47"/>
        <pc:sldMkLst>
          <pc:docMk/>
          <pc:sldMk cId="2140225364" sldId="2995"/>
        </pc:sldMkLst>
      </pc:sldChg>
      <pc:sldChg chg="modNotesTx">
        <pc:chgData name="Solange Pose Garcia" userId="3d9a6d5646ebac6f" providerId="LiveId" clId="{FCF3946F-8045-4C62-9471-20A070809754}" dt="2024-03-07T13:12:54.110" v="373" actId="6549"/>
        <pc:sldMkLst>
          <pc:docMk/>
          <pc:sldMk cId="3437616526" sldId="2997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2444987482" sldId="2998"/>
        </pc:sldMkLst>
      </pc:sldChg>
      <pc:sldChg chg="del">
        <pc:chgData name="Solange Pose Garcia" userId="3d9a6d5646ebac6f" providerId="LiveId" clId="{FCF3946F-8045-4C62-9471-20A070809754}" dt="2024-03-07T12:54:38.462" v="265" actId="47"/>
        <pc:sldMkLst>
          <pc:docMk/>
          <pc:sldMk cId="545224324" sldId="2999"/>
        </pc:sldMkLst>
      </pc:sldChg>
      <pc:sldChg chg="del">
        <pc:chgData name="Solange Pose Garcia" userId="3d9a6d5646ebac6f" providerId="LiveId" clId="{FCF3946F-8045-4C62-9471-20A070809754}" dt="2024-03-07T13:04:17.523" v="339" actId="47"/>
        <pc:sldMkLst>
          <pc:docMk/>
          <pc:sldMk cId="2716533891" sldId="3001"/>
        </pc:sldMkLst>
      </pc:sldChg>
      <pc:sldChg chg="del">
        <pc:chgData name="Solange Pose Garcia" userId="3d9a6d5646ebac6f" providerId="LiveId" clId="{FCF3946F-8045-4C62-9471-20A070809754}" dt="2024-03-07T12:41:24.717" v="50" actId="47"/>
        <pc:sldMkLst>
          <pc:docMk/>
          <pc:sldMk cId="477857533" sldId="3002"/>
        </pc:sldMkLst>
      </pc:sldChg>
      <pc:sldChg chg="del">
        <pc:chgData name="Solange Pose Garcia" userId="3d9a6d5646ebac6f" providerId="LiveId" clId="{FCF3946F-8045-4C62-9471-20A070809754}" dt="2024-03-07T12:56:51.119" v="276" actId="47"/>
        <pc:sldMkLst>
          <pc:docMk/>
          <pc:sldMk cId="1928189799" sldId="3004"/>
        </pc:sldMkLst>
      </pc:sldChg>
      <pc:sldChg chg="del">
        <pc:chgData name="Solange Pose Garcia" userId="3d9a6d5646ebac6f" providerId="LiveId" clId="{FCF3946F-8045-4C62-9471-20A070809754}" dt="2024-03-07T12:56:51.119" v="276" actId="47"/>
        <pc:sldMkLst>
          <pc:docMk/>
          <pc:sldMk cId="1019697603" sldId="3005"/>
        </pc:sldMkLst>
      </pc:sldChg>
      <pc:sldChg chg="del">
        <pc:chgData name="Solange Pose Garcia" userId="3d9a6d5646ebac6f" providerId="LiveId" clId="{FCF3946F-8045-4C62-9471-20A070809754}" dt="2024-03-07T12:56:51.119" v="276" actId="47"/>
        <pc:sldMkLst>
          <pc:docMk/>
          <pc:sldMk cId="373802776" sldId="3006"/>
        </pc:sldMkLst>
      </pc:sldChg>
      <pc:sldChg chg="del">
        <pc:chgData name="Solange Pose Garcia" userId="3d9a6d5646ebac6f" providerId="LiveId" clId="{FCF3946F-8045-4C62-9471-20A070809754}" dt="2024-03-07T13:08:29.060" v="353" actId="47"/>
        <pc:sldMkLst>
          <pc:docMk/>
          <pc:sldMk cId="2376157997" sldId="3008"/>
        </pc:sldMkLst>
      </pc:sldChg>
      <pc:sldChg chg="del">
        <pc:chgData name="Solange Pose Garcia" userId="3d9a6d5646ebac6f" providerId="LiveId" clId="{FCF3946F-8045-4C62-9471-20A070809754}" dt="2024-03-07T12:56:51.119" v="276" actId="47"/>
        <pc:sldMkLst>
          <pc:docMk/>
          <pc:sldMk cId="2990549195" sldId="3009"/>
        </pc:sldMkLst>
      </pc:sldChg>
      <pc:sldChg chg="del">
        <pc:chgData name="Solange Pose Garcia" userId="3d9a6d5646ebac6f" providerId="LiveId" clId="{FCF3946F-8045-4C62-9471-20A070809754}" dt="2024-03-07T12:56:33.894" v="275" actId="47"/>
        <pc:sldMkLst>
          <pc:docMk/>
          <pc:sldMk cId="1023113074" sldId="3012"/>
        </pc:sldMkLst>
      </pc:sldChg>
      <pc:sldChg chg="del">
        <pc:chgData name="Solange Pose Garcia" userId="3d9a6d5646ebac6f" providerId="LiveId" clId="{FCF3946F-8045-4C62-9471-20A070809754}" dt="2024-03-07T12:55:55.436" v="272" actId="47"/>
        <pc:sldMkLst>
          <pc:docMk/>
          <pc:sldMk cId="3618323398" sldId="3018"/>
        </pc:sldMkLst>
      </pc:sldChg>
      <pc:sldChg chg="del">
        <pc:chgData name="Solange Pose Garcia" userId="3d9a6d5646ebac6f" providerId="LiveId" clId="{FCF3946F-8045-4C62-9471-20A070809754}" dt="2024-03-07T13:00:35.532" v="330" actId="47"/>
        <pc:sldMkLst>
          <pc:docMk/>
          <pc:sldMk cId="822518437" sldId="3019"/>
        </pc:sldMkLst>
      </pc:sldChg>
      <pc:sldChg chg="del">
        <pc:chgData name="Solange Pose Garcia" userId="3d9a6d5646ebac6f" providerId="LiveId" clId="{FCF3946F-8045-4C62-9471-20A070809754}" dt="2024-03-07T13:00:46.520" v="331" actId="47"/>
        <pc:sldMkLst>
          <pc:docMk/>
          <pc:sldMk cId="3784089969" sldId="3020"/>
        </pc:sldMkLst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1125426815" sldId="3021"/>
        </pc:sldMkLst>
      </pc:sldChg>
      <pc:sldChg chg="del">
        <pc:chgData name="Solange Pose Garcia" userId="3d9a6d5646ebac6f" providerId="LiveId" clId="{FCF3946F-8045-4C62-9471-20A070809754}" dt="2024-03-07T12:56:17.400" v="273" actId="47"/>
        <pc:sldMkLst>
          <pc:docMk/>
          <pc:sldMk cId="3713724499" sldId="3022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138634361" sldId="3023"/>
        </pc:sldMkLst>
      </pc:sldChg>
      <pc:sldChg chg="del">
        <pc:chgData name="Solange Pose Garcia" userId="3d9a6d5646ebac6f" providerId="LiveId" clId="{FCF3946F-8045-4C62-9471-20A070809754}" dt="2024-03-07T13:07:08.053" v="348" actId="47"/>
        <pc:sldMkLst>
          <pc:docMk/>
          <pc:sldMk cId="2454027410" sldId="3025"/>
        </pc:sldMkLst>
      </pc:sldChg>
      <pc:sldChg chg="del">
        <pc:chgData name="Solange Pose Garcia" userId="3d9a6d5646ebac6f" providerId="LiveId" clId="{FCF3946F-8045-4C62-9471-20A070809754}" dt="2024-03-07T12:54:11.004" v="263" actId="47"/>
        <pc:sldMkLst>
          <pc:docMk/>
          <pc:sldMk cId="1276338693" sldId="3026"/>
        </pc:sldMkLst>
      </pc:sldChg>
      <pc:sldChg chg="del">
        <pc:chgData name="Solange Pose Garcia" userId="3d9a6d5646ebac6f" providerId="LiveId" clId="{FCF3946F-8045-4C62-9471-20A070809754}" dt="2024-03-07T12:55:53.920" v="271" actId="47"/>
        <pc:sldMkLst>
          <pc:docMk/>
          <pc:sldMk cId="3565904756" sldId="3027"/>
        </pc:sldMkLst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2248759079" sldId="3028"/>
        </pc:sldMkLst>
      </pc:sldChg>
      <pc:sldChg chg="delSp mod ord modShow">
        <pc:chgData name="Solange Pose Garcia" userId="3d9a6d5646ebac6f" providerId="LiveId" clId="{FCF3946F-8045-4C62-9471-20A070809754}" dt="2024-03-07T13:09:41.493" v="355" actId="478"/>
        <pc:sldMkLst>
          <pc:docMk/>
          <pc:sldMk cId="4148919032" sldId="3029"/>
        </pc:sldMkLst>
        <pc:spChg chg="del">
          <ac:chgData name="Solange Pose Garcia" userId="3d9a6d5646ebac6f" providerId="LiveId" clId="{FCF3946F-8045-4C62-9471-20A070809754}" dt="2024-03-07T13:09:41.493" v="355" actId="478"/>
          <ac:spMkLst>
            <pc:docMk/>
            <pc:sldMk cId="4148919032" sldId="3029"/>
            <ac:spMk id="5" creationId="{34A80CAC-5DF8-F6B5-8339-04FF206A600C}"/>
          </ac:spMkLst>
        </pc:spChg>
      </pc:sldChg>
      <pc:sldChg chg="add del">
        <pc:chgData name="Solange Pose Garcia" userId="3d9a6d5646ebac6f" providerId="LiveId" clId="{FCF3946F-8045-4C62-9471-20A070809754}" dt="2024-03-07T12:58:47.607" v="289" actId="47"/>
        <pc:sldMkLst>
          <pc:docMk/>
          <pc:sldMk cId="3940076070" sldId="3030"/>
        </pc:sldMkLst>
      </pc:sldChg>
      <pc:sldChg chg="del">
        <pc:chgData name="Solange Pose Garcia" userId="3d9a6d5646ebac6f" providerId="LiveId" clId="{FCF3946F-8045-4C62-9471-20A070809754}" dt="2024-03-07T13:00:09.226" v="327" actId="47"/>
        <pc:sldMkLst>
          <pc:docMk/>
          <pc:sldMk cId="3753386403" sldId="3031"/>
        </pc:sldMkLst>
      </pc:sldChg>
      <pc:sldChg chg="del">
        <pc:chgData name="Solange Pose Garcia" userId="3d9a6d5646ebac6f" providerId="LiveId" clId="{FCF3946F-8045-4C62-9471-20A070809754}" dt="2024-03-07T12:42:20.004" v="54" actId="47"/>
        <pc:sldMkLst>
          <pc:docMk/>
          <pc:sldMk cId="955089018" sldId="3032"/>
        </pc:sldMkLst>
      </pc:sldChg>
      <pc:sldChg chg="del">
        <pc:chgData name="Solange Pose Garcia" userId="3d9a6d5646ebac6f" providerId="LiveId" clId="{FCF3946F-8045-4C62-9471-20A070809754}" dt="2024-03-07T12:53:57.980" v="260" actId="47"/>
        <pc:sldMkLst>
          <pc:docMk/>
          <pc:sldMk cId="3297739768" sldId="3033"/>
        </pc:sldMkLst>
      </pc:sldChg>
      <pc:sldChg chg="del">
        <pc:chgData name="Solange Pose Garcia" userId="3d9a6d5646ebac6f" providerId="LiveId" clId="{FCF3946F-8045-4C62-9471-20A070809754}" dt="2024-03-07T12:53:45.100" v="259" actId="47"/>
        <pc:sldMkLst>
          <pc:docMk/>
          <pc:sldMk cId="647441512" sldId="3034"/>
        </pc:sldMkLst>
      </pc:sldChg>
      <pc:sldChg chg="del">
        <pc:chgData name="Solange Pose Garcia" userId="3d9a6d5646ebac6f" providerId="LiveId" clId="{FCF3946F-8045-4C62-9471-20A070809754}" dt="2024-03-07T12:53:45.100" v="259" actId="47"/>
        <pc:sldMkLst>
          <pc:docMk/>
          <pc:sldMk cId="4107872963" sldId="3035"/>
        </pc:sldMkLst>
      </pc:sldChg>
      <pc:sldChg chg="del">
        <pc:chgData name="Solange Pose Garcia" userId="3d9a6d5646ebac6f" providerId="LiveId" clId="{FCF3946F-8045-4C62-9471-20A070809754}" dt="2024-03-07T12:53:57.980" v="260" actId="47"/>
        <pc:sldMkLst>
          <pc:docMk/>
          <pc:sldMk cId="1845750050" sldId="3036"/>
        </pc:sldMkLst>
      </pc:sldChg>
      <pc:sldChg chg="del">
        <pc:chgData name="Solange Pose Garcia" userId="3d9a6d5646ebac6f" providerId="LiveId" clId="{FCF3946F-8045-4C62-9471-20A070809754}" dt="2024-03-07T12:53:57.980" v="260" actId="47"/>
        <pc:sldMkLst>
          <pc:docMk/>
          <pc:sldMk cId="3787111564" sldId="3037"/>
        </pc:sldMkLst>
      </pc:sldChg>
      <pc:sldChg chg="del">
        <pc:chgData name="Solange Pose Garcia" userId="3d9a6d5646ebac6f" providerId="LiveId" clId="{FCF3946F-8045-4C62-9471-20A070809754}" dt="2024-03-07T12:53:57.980" v="260" actId="47"/>
        <pc:sldMkLst>
          <pc:docMk/>
          <pc:sldMk cId="531091122" sldId="3038"/>
        </pc:sldMkLst>
      </pc:sldChg>
      <pc:sldChg chg="del">
        <pc:chgData name="Solange Pose Garcia" userId="3d9a6d5646ebac6f" providerId="LiveId" clId="{FCF3946F-8045-4C62-9471-20A070809754}" dt="2024-03-07T12:53:57.980" v="260" actId="47"/>
        <pc:sldMkLst>
          <pc:docMk/>
          <pc:sldMk cId="34748181" sldId="3039"/>
        </pc:sldMkLst>
      </pc:sldChg>
      <pc:sldChg chg="del">
        <pc:chgData name="Solange Pose Garcia" userId="3d9a6d5646ebac6f" providerId="LiveId" clId="{FCF3946F-8045-4C62-9471-20A070809754}" dt="2024-03-07T12:53:57.980" v="260" actId="47"/>
        <pc:sldMkLst>
          <pc:docMk/>
          <pc:sldMk cId="813871289" sldId="3040"/>
        </pc:sldMkLst>
      </pc:sldChg>
      <pc:sldChg chg="modNotesTx">
        <pc:chgData name="Solange Pose Garcia" userId="3d9a6d5646ebac6f" providerId="LiveId" clId="{FCF3946F-8045-4C62-9471-20A070809754}" dt="2024-03-07T13:10:40.771" v="360" actId="6549"/>
        <pc:sldMkLst>
          <pc:docMk/>
          <pc:sldMk cId="2397928263" sldId="3041"/>
        </pc:sldMkLst>
      </pc:sldChg>
      <pc:sldChg chg="del">
        <pc:chgData name="Solange Pose Garcia" userId="3d9a6d5646ebac6f" providerId="LiveId" clId="{FCF3946F-8045-4C62-9471-20A070809754}" dt="2024-03-07T12:39:04.736" v="34" actId="47"/>
        <pc:sldMkLst>
          <pc:docMk/>
          <pc:sldMk cId="62149904" sldId="3042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3727778885" sldId="3043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3189470052" sldId="3044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3722169169" sldId="3045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2652348804" sldId="3046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4102433226" sldId="3047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3763078392" sldId="3048"/>
        </pc:sldMkLst>
      </pc:sldChg>
      <pc:sldChg chg="del">
        <pc:chgData name="Solange Pose Garcia" userId="3d9a6d5646ebac6f" providerId="LiveId" clId="{FCF3946F-8045-4C62-9471-20A070809754}" dt="2024-03-07T12:39:17.366" v="35" actId="47"/>
        <pc:sldMkLst>
          <pc:docMk/>
          <pc:sldMk cId="2534458502" sldId="3049"/>
        </pc:sldMkLst>
      </pc:sldChg>
      <pc:sldChg chg="del">
        <pc:chgData name="Solange Pose Garcia" userId="3d9a6d5646ebac6f" providerId="LiveId" clId="{FCF3946F-8045-4C62-9471-20A070809754}" dt="2024-03-07T12:41:13.673" v="47" actId="47"/>
        <pc:sldMkLst>
          <pc:docMk/>
          <pc:sldMk cId="1761747943" sldId="3050"/>
        </pc:sldMkLst>
      </pc:sldChg>
      <pc:sldChg chg="del">
        <pc:chgData name="Solange Pose Garcia" userId="3d9a6d5646ebac6f" providerId="LiveId" clId="{FCF3946F-8045-4C62-9471-20A070809754}" dt="2024-03-07T12:41:13.673" v="47" actId="47"/>
        <pc:sldMkLst>
          <pc:docMk/>
          <pc:sldMk cId="1945353891" sldId="3051"/>
        </pc:sldMkLst>
      </pc:sldChg>
      <pc:sldChg chg="del">
        <pc:chgData name="Solange Pose Garcia" userId="3d9a6d5646ebac6f" providerId="LiveId" clId="{FCF3946F-8045-4C62-9471-20A070809754}" dt="2024-03-07T12:41:13.673" v="47" actId="47"/>
        <pc:sldMkLst>
          <pc:docMk/>
          <pc:sldMk cId="4059863676" sldId="3052"/>
        </pc:sldMkLst>
      </pc:sldChg>
      <pc:sldChg chg="del">
        <pc:chgData name="Solange Pose Garcia" userId="3d9a6d5646ebac6f" providerId="LiveId" clId="{FCF3946F-8045-4C62-9471-20A070809754}" dt="2024-03-07T12:41:15.279" v="48" actId="47"/>
        <pc:sldMkLst>
          <pc:docMk/>
          <pc:sldMk cId="1704006013" sldId="3053"/>
        </pc:sldMkLst>
      </pc:sldChg>
      <pc:sldChg chg="del">
        <pc:chgData name="Solange Pose Garcia" userId="3d9a6d5646ebac6f" providerId="LiveId" clId="{FCF3946F-8045-4C62-9471-20A070809754}" dt="2024-03-07T12:38:55.183" v="32" actId="47"/>
        <pc:sldMkLst>
          <pc:docMk/>
          <pc:sldMk cId="1300029519" sldId="3056"/>
        </pc:sldMkLst>
      </pc:sldChg>
      <pc:sldChg chg="del">
        <pc:chgData name="Solange Pose Garcia" userId="3d9a6d5646ebac6f" providerId="LiveId" clId="{FCF3946F-8045-4C62-9471-20A070809754}" dt="2024-03-07T12:54:20.094" v="264" actId="47"/>
        <pc:sldMkLst>
          <pc:docMk/>
          <pc:sldMk cId="569349698" sldId="3058"/>
        </pc:sldMkLst>
      </pc:sldChg>
      <pc:sldChg chg="del">
        <pc:chgData name="Solange Pose Garcia" userId="3d9a6d5646ebac6f" providerId="LiveId" clId="{FCF3946F-8045-4C62-9471-20A070809754}" dt="2024-03-07T12:55:36.814" v="270" actId="47"/>
        <pc:sldMkLst>
          <pc:docMk/>
          <pc:sldMk cId="216317146" sldId="3059"/>
        </pc:sldMkLst>
      </pc:sldChg>
      <pc:sldChg chg="delSp modSp del mod">
        <pc:chgData name="Solange Pose Garcia" userId="3d9a6d5646ebac6f" providerId="LiveId" clId="{FCF3946F-8045-4C62-9471-20A070809754}" dt="2024-03-07T12:43:17.243" v="60" actId="47"/>
        <pc:sldMkLst>
          <pc:docMk/>
          <pc:sldMk cId="1976949659" sldId="3060"/>
        </pc:sldMkLst>
        <pc:picChg chg="del mod">
          <ac:chgData name="Solange Pose Garcia" userId="3d9a6d5646ebac6f" providerId="LiveId" clId="{FCF3946F-8045-4C62-9471-20A070809754}" dt="2024-03-07T12:42:44.663" v="56" actId="478"/>
          <ac:picMkLst>
            <pc:docMk/>
            <pc:sldMk cId="1976949659" sldId="3060"/>
            <ac:picMk id="12" creationId="{C63C4050-1C78-C310-F078-04F6D6AC5157}"/>
          </ac:picMkLst>
        </pc:picChg>
      </pc:sldChg>
      <pc:sldChg chg="del">
        <pc:chgData name="Solange Pose Garcia" userId="3d9a6d5646ebac6f" providerId="LiveId" clId="{FCF3946F-8045-4C62-9471-20A070809754}" dt="2024-03-07T12:57:35.442" v="282" actId="47"/>
        <pc:sldMkLst>
          <pc:docMk/>
          <pc:sldMk cId="2822881522" sldId="3061"/>
        </pc:sldMkLst>
      </pc:sldChg>
      <pc:sldChg chg="del">
        <pc:chgData name="Solange Pose Garcia" userId="3d9a6d5646ebac6f" providerId="LiveId" clId="{FCF3946F-8045-4C62-9471-20A070809754}" dt="2024-03-07T12:53:09.262" v="254" actId="47"/>
        <pc:sldMkLst>
          <pc:docMk/>
          <pc:sldMk cId="932711373" sldId="3062"/>
        </pc:sldMkLst>
      </pc:sldChg>
      <pc:sldChg chg="del">
        <pc:chgData name="Solange Pose Garcia" userId="3d9a6d5646ebac6f" providerId="LiveId" clId="{FCF3946F-8045-4C62-9471-20A070809754}" dt="2024-03-07T12:53:13.950" v="255" actId="47"/>
        <pc:sldMkLst>
          <pc:docMk/>
          <pc:sldMk cId="846745239" sldId="3063"/>
        </pc:sldMkLst>
      </pc:sldChg>
      <pc:sldChg chg="addSp modSp mod modAnim">
        <pc:chgData name="Solange Pose Garcia" userId="3d9a6d5646ebac6f" providerId="LiveId" clId="{FCF3946F-8045-4C62-9471-20A070809754}" dt="2024-03-07T12:52:35.872" v="252" actId="6549"/>
        <pc:sldMkLst>
          <pc:docMk/>
          <pc:sldMk cId="169812677" sldId="3064"/>
        </pc:sldMkLst>
        <pc:spChg chg="mod">
          <ac:chgData name="Solange Pose Garcia" userId="3d9a6d5646ebac6f" providerId="LiveId" clId="{FCF3946F-8045-4C62-9471-20A070809754}" dt="2024-03-07T12:50:52.579" v="233" actId="1076"/>
          <ac:spMkLst>
            <pc:docMk/>
            <pc:sldMk cId="169812677" sldId="3064"/>
            <ac:spMk id="4" creationId="{00000000-0000-0000-0000-000000000000}"/>
          </ac:spMkLst>
        </pc:spChg>
        <pc:spChg chg="add mod">
          <ac:chgData name="Solange Pose Garcia" userId="3d9a6d5646ebac6f" providerId="LiveId" clId="{FCF3946F-8045-4C62-9471-20A070809754}" dt="2024-03-07T12:52:32.256" v="251" actId="1076"/>
          <ac:spMkLst>
            <pc:docMk/>
            <pc:sldMk cId="169812677" sldId="3064"/>
            <ac:spMk id="5" creationId="{C1A9DCE2-03F6-D7EE-905A-4B04F81BD4F6}"/>
          </ac:spMkLst>
        </pc:spChg>
        <pc:spChg chg="mod">
          <ac:chgData name="Solange Pose Garcia" userId="3d9a6d5646ebac6f" providerId="LiveId" clId="{FCF3946F-8045-4C62-9471-20A070809754}" dt="2024-03-07T12:51:29.835" v="241" actId="1076"/>
          <ac:spMkLst>
            <pc:docMk/>
            <pc:sldMk cId="169812677" sldId="3064"/>
            <ac:spMk id="6" creationId="{00000000-0000-0000-0000-000000000000}"/>
          </ac:spMkLst>
        </pc:spChg>
        <pc:spChg chg="add mod">
          <ac:chgData name="Solange Pose Garcia" userId="3d9a6d5646ebac6f" providerId="LiveId" clId="{FCF3946F-8045-4C62-9471-20A070809754}" dt="2024-03-07T12:51:16.545" v="239" actId="1036"/>
          <ac:spMkLst>
            <pc:docMk/>
            <pc:sldMk cId="169812677" sldId="3064"/>
            <ac:spMk id="8" creationId="{D9A7B94C-FA40-62DE-20DA-A8797B09A292}"/>
          </ac:spMkLst>
        </pc:spChg>
        <pc:spChg chg="add mod">
          <ac:chgData name="Solange Pose Garcia" userId="3d9a6d5646ebac6f" providerId="LiveId" clId="{FCF3946F-8045-4C62-9471-20A070809754}" dt="2024-03-07T12:52:35.872" v="252" actId="6549"/>
          <ac:spMkLst>
            <pc:docMk/>
            <pc:sldMk cId="169812677" sldId="3064"/>
            <ac:spMk id="9" creationId="{B076AA2A-4107-E509-E195-6F95B74F1600}"/>
          </ac:spMkLst>
        </pc:spChg>
        <pc:picChg chg="mod modCrop">
          <ac:chgData name="Solange Pose Garcia" userId="3d9a6d5646ebac6f" providerId="LiveId" clId="{FCF3946F-8045-4C62-9471-20A070809754}" dt="2024-03-07T12:51:22.160" v="240" actId="1076"/>
          <ac:picMkLst>
            <pc:docMk/>
            <pc:sldMk cId="169812677" sldId="3064"/>
            <ac:picMk id="7" creationId="{C6E0B682-D65F-07CF-09AF-92D02340CD02}"/>
          </ac:picMkLst>
        </pc:picChg>
        <pc:cxnChg chg="add mod">
          <ac:chgData name="Solange Pose Garcia" userId="3d9a6d5646ebac6f" providerId="LiveId" clId="{FCF3946F-8045-4C62-9471-20A070809754}" dt="2024-03-07T12:47:26.253" v="89" actId="14100"/>
          <ac:cxnSpMkLst>
            <pc:docMk/>
            <pc:sldMk cId="169812677" sldId="3064"/>
            <ac:cxnSpMk id="2" creationId="{6C8B95B7-8B3B-102A-7ED1-1A8A09E8A75D}"/>
          </ac:cxnSpMkLst>
        </pc:cxnChg>
        <pc:cxnChg chg="add mod">
          <ac:chgData name="Solange Pose Garcia" userId="3d9a6d5646ebac6f" providerId="LiveId" clId="{FCF3946F-8045-4C62-9471-20A070809754}" dt="2024-03-07T12:51:32.783" v="244" actId="1035"/>
          <ac:cxnSpMkLst>
            <pc:docMk/>
            <pc:sldMk cId="169812677" sldId="3064"/>
            <ac:cxnSpMk id="10" creationId="{EEE86F25-4B41-9CFA-B278-8735C71E294D}"/>
          </ac:cxnSpMkLst>
        </pc:cxnChg>
        <pc:cxnChg chg="add mod">
          <ac:chgData name="Solange Pose Garcia" userId="3d9a6d5646ebac6f" providerId="LiveId" clId="{FCF3946F-8045-4C62-9471-20A070809754}" dt="2024-03-07T12:51:37.112" v="245" actId="1035"/>
          <ac:cxnSpMkLst>
            <pc:docMk/>
            <pc:sldMk cId="169812677" sldId="3064"/>
            <ac:cxnSpMk id="11" creationId="{48F1DE16-974A-9984-EAF8-71FEFEF4714B}"/>
          </ac:cxnSpMkLst>
        </pc:cxnChg>
      </pc:sldChg>
      <pc:sldChg chg="modSp mod">
        <pc:chgData name="Solange Pose Garcia" userId="3d9a6d5646ebac6f" providerId="LiveId" clId="{FCF3946F-8045-4C62-9471-20A070809754}" dt="2024-03-07T12:43:09.043" v="59" actId="6549"/>
        <pc:sldMkLst>
          <pc:docMk/>
          <pc:sldMk cId="4138760139" sldId="3066"/>
        </pc:sldMkLst>
        <pc:spChg chg="mod">
          <ac:chgData name="Solange Pose Garcia" userId="3d9a6d5646ebac6f" providerId="LiveId" clId="{FCF3946F-8045-4C62-9471-20A070809754}" dt="2024-03-07T12:43:09.043" v="59" actId="6549"/>
          <ac:spMkLst>
            <pc:docMk/>
            <pc:sldMk cId="4138760139" sldId="3066"/>
            <ac:spMk id="2" creationId="{90261D1C-FF2A-EEB6-C690-76CFA2AAFD13}"/>
          </ac:spMkLst>
        </pc:spChg>
      </pc:sldChg>
      <pc:sldChg chg="modNotesTx">
        <pc:chgData name="Solange Pose Garcia" userId="3d9a6d5646ebac6f" providerId="LiveId" clId="{FCF3946F-8045-4C62-9471-20A070809754}" dt="2024-03-07T13:14:06.230" v="382" actId="6549"/>
        <pc:sldMkLst>
          <pc:docMk/>
          <pc:sldMk cId="2402323907" sldId="3069"/>
        </pc:sldMkLst>
      </pc:sldChg>
      <pc:sldChg chg="del">
        <pc:chgData name="Solange Pose Garcia" userId="3d9a6d5646ebac6f" providerId="LiveId" clId="{FCF3946F-8045-4C62-9471-20A070809754}" dt="2024-03-07T13:08:09.915" v="351" actId="47"/>
        <pc:sldMkLst>
          <pc:docMk/>
          <pc:sldMk cId="2972163821" sldId="3084"/>
        </pc:sldMkLst>
      </pc:sldChg>
      <pc:sldChg chg="del">
        <pc:chgData name="Solange Pose Garcia" userId="3d9a6d5646ebac6f" providerId="LiveId" clId="{FCF3946F-8045-4C62-9471-20A070809754}" dt="2024-03-07T13:08:10.802" v="352" actId="47"/>
        <pc:sldMkLst>
          <pc:docMk/>
          <pc:sldMk cId="97611298" sldId="3085"/>
        </pc:sldMkLst>
      </pc:sldChg>
      <pc:sldChg chg="delSp modSp add del mod">
        <pc:chgData name="Solange Pose Garcia" userId="3d9a6d5646ebac6f" providerId="LiveId" clId="{FCF3946F-8045-4C62-9471-20A070809754}" dt="2024-03-07T12:48:05.864" v="209" actId="47"/>
        <pc:sldMkLst>
          <pc:docMk/>
          <pc:sldMk cId="1474333716" sldId="3086"/>
        </pc:sldMkLst>
        <pc:spChg chg="mod">
          <ac:chgData name="Solange Pose Garcia" userId="3d9a6d5646ebac6f" providerId="LiveId" clId="{FCF3946F-8045-4C62-9471-20A070809754}" dt="2024-03-07T12:46:44.288" v="85" actId="1076"/>
          <ac:spMkLst>
            <pc:docMk/>
            <pc:sldMk cId="1474333716" sldId="3086"/>
            <ac:spMk id="4" creationId="{DFEA2238-3C97-3CAA-F953-D053138E0B4B}"/>
          </ac:spMkLst>
        </pc:spChg>
        <pc:spChg chg="mod">
          <ac:chgData name="Solange Pose Garcia" userId="3d9a6d5646ebac6f" providerId="LiveId" clId="{FCF3946F-8045-4C62-9471-20A070809754}" dt="2024-03-07T12:46:38.988" v="84" actId="1076"/>
          <ac:spMkLst>
            <pc:docMk/>
            <pc:sldMk cId="1474333716" sldId="3086"/>
            <ac:spMk id="5" creationId="{8C37F2C1-F956-6D5A-4436-37AF54E03DF0}"/>
          </ac:spMkLst>
        </pc:spChg>
        <pc:spChg chg="mod">
          <ac:chgData name="Solange Pose Garcia" userId="3d9a6d5646ebac6f" providerId="LiveId" clId="{FCF3946F-8045-4C62-9471-20A070809754}" dt="2024-03-07T12:46:00.300" v="78" actId="108"/>
          <ac:spMkLst>
            <pc:docMk/>
            <pc:sldMk cId="1474333716" sldId="3086"/>
            <ac:spMk id="6" creationId="{7565B6F7-F053-68C6-333D-6D156FE4840E}"/>
          </ac:spMkLst>
        </pc:spChg>
        <pc:picChg chg="del">
          <ac:chgData name="Solange Pose Garcia" userId="3d9a6d5646ebac6f" providerId="LiveId" clId="{FCF3946F-8045-4C62-9471-20A070809754}" dt="2024-03-07T12:45:47.203" v="76" actId="478"/>
          <ac:picMkLst>
            <pc:docMk/>
            <pc:sldMk cId="1474333716" sldId="3086"/>
            <ac:picMk id="7" creationId="{D4C2A786-2EE8-DB60-1585-2ED1113561EB}"/>
          </ac:picMkLst>
        </pc:picChg>
        <pc:cxnChg chg="mod">
          <ac:chgData name="Solange Pose Garcia" userId="3d9a6d5646ebac6f" providerId="LiveId" clId="{FCF3946F-8045-4C62-9471-20A070809754}" dt="2024-03-07T12:46:13.878" v="79" actId="208"/>
          <ac:cxnSpMkLst>
            <pc:docMk/>
            <pc:sldMk cId="1474333716" sldId="3086"/>
            <ac:cxnSpMk id="8" creationId="{4B984C37-C15D-0FEA-39E6-79C747E7AEB1}"/>
          </ac:cxnSpMkLst>
        </pc:cxnChg>
      </pc:sldChg>
      <pc:sldChg chg="add del">
        <pc:chgData name="Solange Pose Garcia" userId="3d9a6d5646ebac6f" providerId="LiveId" clId="{FCF3946F-8045-4C62-9471-20A070809754}" dt="2024-03-07T12:49:08.497" v="218" actId="47"/>
        <pc:sldMkLst>
          <pc:docMk/>
          <pc:sldMk cId="2618329160" sldId="3101"/>
        </pc:sldMkLst>
      </pc:sldChg>
      <pc:sldChg chg="add del">
        <pc:chgData name="Solange Pose Garcia" userId="3d9a6d5646ebac6f" providerId="LiveId" clId="{FCF3946F-8045-4C62-9471-20A070809754}" dt="2024-03-07T12:52:47.853" v="253" actId="47"/>
        <pc:sldMkLst>
          <pc:docMk/>
          <pc:sldMk cId="1164562334" sldId="3102"/>
        </pc:sldMkLst>
      </pc:sldChg>
      <pc:sldMasterChg chg="delSldLayout">
        <pc:chgData name="Solange Pose Garcia" userId="3d9a6d5646ebac6f" providerId="LiveId" clId="{FCF3946F-8045-4C62-9471-20A070809754}" dt="2024-03-07T13:00:09.226" v="327" actId="47"/>
        <pc:sldMasterMkLst>
          <pc:docMk/>
          <pc:sldMasterMk cId="0" sldId="2147483737"/>
        </pc:sldMasterMkLst>
        <pc:sldLayoutChg chg="del">
          <pc:chgData name="Solange Pose Garcia" userId="3d9a6d5646ebac6f" providerId="LiveId" clId="{FCF3946F-8045-4C62-9471-20A070809754}" dt="2024-03-07T13:00:09.226" v="327" actId="47"/>
          <pc:sldLayoutMkLst>
            <pc:docMk/>
            <pc:sldMasterMk cId="0" sldId="2147483737"/>
            <pc:sldLayoutMk cId="4131395683" sldId="2147484552"/>
          </pc:sldLayoutMkLst>
        </pc:sldLayoutChg>
        <pc:sldLayoutChg chg="del">
          <pc:chgData name="Solange Pose Garcia" userId="3d9a6d5646ebac6f" providerId="LiveId" clId="{FCF3946F-8045-4C62-9471-20A070809754}" dt="2024-03-07T13:00:09.226" v="327" actId="47"/>
          <pc:sldLayoutMkLst>
            <pc:docMk/>
            <pc:sldMasterMk cId="0" sldId="2147483737"/>
            <pc:sldLayoutMk cId="3213728927" sldId="2147484553"/>
          </pc:sldLayoutMkLst>
        </pc:sldLayoutChg>
        <pc:sldLayoutChg chg="del">
          <pc:chgData name="Solange Pose Garcia" userId="3d9a6d5646ebac6f" providerId="LiveId" clId="{FCF3946F-8045-4C62-9471-20A070809754}" dt="2024-03-07T12:59:03.051" v="293" actId="47"/>
          <pc:sldLayoutMkLst>
            <pc:docMk/>
            <pc:sldMasterMk cId="0" sldId="2147483737"/>
            <pc:sldLayoutMk cId="603299417" sldId="2147484554"/>
          </pc:sldLayoutMkLst>
        </pc:sldLayoutChg>
        <pc:sldLayoutChg chg="del">
          <pc:chgData name="Solange Pose Garcia" userId="3d9a6d5646ebac6f" providerId="LiveId" clId="{FCF3946F-8045-4C62-9471-20A070809754}" dt="2024-03-07T13:00:09.226" v="327" actId="47"/>
          <pc:sldLayoutMkLst>
            <pc:docMk/>
            <pc:sldMasterMk cId="0" sldId="2147483737"/>
            <pc:sldLayoutMk cId="1114621342" sldId="2147484555"/>
          </pc:sldLayoutMkLst>
        </pc:sldLayoutChg>
        <pc:sldLayoutChg chg="del">
          <pc:chgData name="Solange Pose Garcia" userId="3d9a6d5646ebac6f" providerId="LiveId" clId="{FCF3946F-8045-4C62-9471-20A070809754}" dt="2024-03-07T13:00:09.226" v="327" actId="47"/>
          <pc:sldLayoutMkLst>
            <pc:docMk/>
            <pc:sldMasterMk cId="0" sldId="2147483737"/>
            <pc:sldLayoutMk cId="4126520094" sldId="2147484556"/>
          </pc:sldLayoutMkLst>
        </pc:sldLayoutChg>
        <pc:sldLayoutChg chg="del">
          <pc:chgData name="Solange Pose Garcia" userId="3d9a6d5646ebac6f" providerId="LiveId" clId="{FCF3946F-8045-4C62-9471-20A070809754}" dt="2024-03-07T13:00:09.226" v="327" actId="47"/>
          <pc:sldLayoutMkLst>
            <pc:docMk/>
            <pc:sldMasterMk cId="0" sldId="2147483737"/>
            <pc:sldLayoutMk cId="2725799058" sldId="2147484580"/>
          </pc:sldLayoutMkLst>
        </pc:sldLayoutChg>
      </pc:sldMasterChg>
      <pc:sldMasterChg chg="del delSldLayout">
        <pc:chgData name="Solange Pose Garcia" userId="3d9a6d5646ebac6f" providerId="LiveId" clId="{FCF3946F-8045-4C62-9471-20A070809754}" dt="2024-03-07T12:37:55.945" v="1" actId="47"/>
        <pc:sldMasterMkLst>
          <pc:docMk/>
          <pc:sldMasterMk cId="3745915888" sldId="2147484557"/>
        </pc:sldMasterMkLst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50025024" sldId="2147484558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3648398869" sldId="2147484559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998321843" sldId="2147484560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280864455" sldId="2147484561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1908308809" sldId="2147484562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1339219627" sldId="2147484563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3892210499" sldId="2147484564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760155662" sldId="2147484565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1221423307" sldId="2147484566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4166637170" sldId="2147484567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01526690" sldId="2147484568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4268635669" sldId="2147484569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110303954" sldId="2147484570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4148073048" sldId="2147484571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773366126" sldId="2147484572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768186057" sldId="2147484573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1509196572" sldId="2147484574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3364714919" sldId="2147484575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2979094672" sldId="2147484576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788194382" sldId="2147484577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338450602" sldId="2147484578"/>
          </pc:sldLayoutMkLst>
        </pc:sldLayoutChg>
        <pc:sldLayoutChg chg="del">
          <pc:chgData name="Solange Pose Garcia" userId="3d9a6d5646ebac6f" providerId="LiveId" clId="{FCF3946F-8045-4C62-9471-20A070809754}" dt="2024-03-07T12:37:55.945" v="1" actId="47"/>
          <pc:sldLayoutMkLst>
            <pc:docMk/>
            <pc:sldMasterMk cId="3745915888" sldId="2147484557"/>
            <pc:sldLayoutMk cId="3291190926" sldId="2147484579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291707677165"/>
          <c:y val="0"/>
          <c:w val="0.77395829232283497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F76BB"/>
                  </a:gs>
                  <a:gs pos="100000">
                    <a:srgbClr val="FF7952"/>
                  </a:gs>
                </a:gsLst>
                <a:lin ang="270000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ECC-4D56-8D6B-DBC2FC0042D9}"/>
              </c:ext>
            </c:extLst>
          </c:dPt>
          <c:dPt>
            <c:idx val="1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ECC-4D56-8D6B-DBC2FC0042D9}"/>
              </c:ext>
            </c:extLst>
          </c:dPt>
          <c:dPt>
            <c:idx val="2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ECC-4D56-8D6B-DBC2FC0042D9}"/>
              </c:ext>
            </c:extLst>
          </c:dPt>
          <c:dPt>
            <c:idx val="3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ECC-4D56-8D6B-DBC2FC0042D9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ECC-4D56-8D6B-DBC2FC0042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291707677165"/>
          <c:y val="0"/>
          <c:w val="0.77395829232283497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F76BB"/>
                  </a:gs>
                  <a:gs pos="100000">
                    <a:srgbClr val="4662DC"/>
                  </a:gs>
                </a:gsLst>
                <a:lin ang="270000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08-48CA-A6F3-265F3AD14584}"/>
              </c:ext>
            </c:extLst>
          </c:dPt>
          <c:dPt>
            <c:idx val="1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08-48CA-A6F3-265F3AD14584}"/>
              </c:ext>
            </c:extLst>
          </c:dPt>
          <c:dPt>
            <c:idx val="2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308-48CA-A6F3-265F3AD14584}"/>
              </c:ext>
            </c:extLst>
          </c:dPt>
          <c:dPt>
            <c:idx val="3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308-48CA-A6F3-265F3AD14584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9</c:v>
                </c:pt>
                <c:pt idx="1">
                  <c:v>0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08-48CA-A6F3-265F3AD145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291707677165"/>
          <c:y val="0"/>
          <c:w val="0.77395829232283497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FFE058"/>
                  </a:gs>
                  <a:gs pos="100000">
                    <a:srgbClr val="FF7952"/>
                  </a:gs>
                </a:gsLst>
                <a:lin ang="2700000" scaled="1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70-4E34-ABB6-9CE5A6C7A9EA}"/>
              </c:ext>
            </c:extLst>
          </c:dPt>
          <c:dPt>
            <c:idx val="1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70-4E34-ABB6-9CE5A6C7A9EA}"/>
              </c:ext>
            </c:extLst>
          </c:dPt>
          <c:dPt>
            <c:idx val="2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370-4E34-ABB6-9CE5A6C7A9EA}"/>
              </c:ext>
            </c:extLst>
          </c:dPt>
          <c:dPt>
            <c:idx val="3"/>
            <c:bubble3D val="0"/>
            <c:spPr>
              <a:solidFill>
                <a:srgbClr val="FFE8E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370-4E34-ABB6-9CE5A6C7A9EA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9</c:v>
                </c:pt>
                <c:pt idx="1">
                  <c:v>0</c:v>
                </c:pt>
                <c:pt idx="2">
                  <c:v>0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70-4E34-ABB6-9CE5A6C7A9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7D4811-CD1E-4FEF-BD17-40C90A64DA90}" type="doc">
      <dgm:prSet loTypeId="urn:microsoft.com/office/officeart/2005/8/layout/process4" loCatId="list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pt-BR"/>
        </a:p>
      </dgm:t>
    </dgm:pt>
    <dgm:pt modelId="{5EBA3B42-B7B9-4A0F-89F3-998E20361A45}">
      <dgm:prSet phldrT="[Texto]" custT="1"/>
      <dgm:spPr>
        <a:xfrm rot="10800000">
          <a:off x="0" y="1272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3076452"/>
                <a:satOff val="27738"/>
                <a:lumOff val="5883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3076452"/>
                <a:satOff val="27738"/>
                <a:lumOff val="5883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Missão</a:t>
          </a:r>
        </a:p>
      </dgm:t>
    </dgm:pt>
    <dgm:pt modelId="{782CBCEA-EFB7-4CE7-891D-EA65F978C09D}" type="parTrans" cxnId="{DBA42CF9-4BF6-463B-B274-BFFE4DC90337}">
      <dgm:prSet/>
      <dgm:spPr/>
      <dgm:t>
        <a:bodyPr/>
        <a:lstStyle/>
        <a:p>
          <a:endParaRPr lang="pt-BR" sz="1400"/>
        </a:p>
      </dgm:t>
    </dgm:pt>
    <dgm:pt modelId="{ED016DE8-523B-49DA-820F-B3502532CB53}" type="sibTrans" cxnId="{DBA42CF9-4BF6-463B-B274-BFFE4DC90337}">
      <dgm:prSet/>
      <dgm:spPr/>
      <dgm:t>
        <a:bodyPr/>
        <a:lstStyle/>
        <a:p>
          <a:endParaRPr lang="pt-BR" sz="1400"/>
        </a:p>
      </dgm:t>
    </dgm:pt>
    <dgm:pt modelId="{73DC9DA2-CB45-4514-8419-9A5D541B882B}">
      <dgm:prSet phldrT="[Texto]" custT="1"/>
      <dgm:spPr>
        <a:xfrm rot="10800000">
          <a:off x="0" y="509324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2691896"/>
                <a:satOff val="24271"/>
                <a:lumOff val="5148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2691896"/>
                <a:satOff val="24271"/>
                <a:lumOff val="5148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Valores</a:t>
          </a:r>
        </a:p>
      </dgm:t>
    </dgm:pt>
    <dgm:pt modelId="{40EFF420-2CC7-48EB-AFD4-577305FFB07F}" type="parTrans" cxnId="{5C80E4E6-F43D-42C6-9122-FC9A88C18C74}">
      <dgm:prSet/>
      <dgm:spPr/>
      <dgm:t>
        <a:bodyPr/>
        <a:lstStyle/>
        <a:p>
          <a:endParaRPr lang="pt-BR" sz="1400"/>
        </a:p>
      </dgm:t>
    </dgm:pt>
    <dgm:pt modelId="{A464AF92-71AE-426A-AB98-C078014B87D0}" type="sibTrans" cxnId="{5C80E4E6-F43D-42C6-9122-FC9A88C18C74}">
      <dgm:prSet/>
      <dgm:spPr/>
      <dgm:t>
        <a:bodyPr/>
        <a:lstStyle/>
        <a:p>
          <a:endParaRPr lang="pt-BR" sz="1400"/>
        </a:p>
      </dgm:t>
    </dgm:pt>
    <dgm:pt modelId="{0501A9A5-C4C6-4B8B-8175-CEB71771D591}">
      <dgm:prSet phldrT="[Texto]" custT="1"/>
      <dgm:spPr>
        <a:xfrm rot="10800000">
          <a:off x="0" y="1525429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1922783"/>
                <a:satOff val="17336"/>
                <a:lumOff val="3677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1922783"/>
                <a:satOff val="17336"/>
                <a:lumOff val="3677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Estratégia</a:t>
          </a:r>
        </a:p>
      </dgm:t>
    </dgm:pt>
    <dgm:pt modelId="{A48170D4-1313-4B4A-B415-FBD8DBB3B1D1}" type="parTrans" cxnId="{336272FD-EBEA-4A24-B029-258A11340C2B}">
      <dgm:prSet/>
      <dgm:spPr/>
      <dgm:t>
        <a:bodyPr/>
        <a:lstStyle/>
        <a:p>
          <a:endParaRPr lang="pt-BR" sz="1400"/>
        </a:p>
      </dgm:t>
    </dgm:pt>
    <dgm:pt modelId="{D4B565F8-F50A-4CE2-9A6B-D8A0DC25BAAD}" type="sibTrans" cxnId="{336272FD-EBEA-4A24-B029-258A11340C2B}">
      <dgm:prSet/>
      <dgm:spPr/>
      <dgm:t>
        <a:bodyPr/>
        <a:lstStyle/>
        <a:p>
          <a:endParaRPr lang="pt-BR" sz="1400"/>
        </a:p>
      </dgm:t>
    </dgm:pt>
    <dgm:pt modelId="{079AE145-0749-41B1-B3D6-6C096A1F4D2C}">
      <dgm:prSet phldrT="[Texto]" custT="1"/>
      <dgm:spPr>
        <a:xfrm rot="10800000">
          <a:off x="0" y="1017376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2307339"/>
                <a:satOff val="20803"/>
                <a:lumOff val="4412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2307339"/>
                <a:satOff val="20803"/>
                <a:lumOff val="4412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Visão</a:t>
          </a:r>
        </a:p>
      </dgm:t>
    </dgm:pt>
    <dgm:pt modelId="{2BCE3354-17E8-4B7B-9B84-5205F7B22F65}" type="sibTrans" cxnId="{E1FADD82-062A-4C4A-AF87-E38D24A984E8}">
      <dgm:prSet/>
      <dgm:spPr/>
      <dgm:t>
        <a:bodyPr/>
        <a:lstStyle/>
        <a:p>
          <a:endParaRPr lang="pt-BR" sz="1400"/>
        </a:p>
      </dgm:t>
    </dgm:pt>
    <dgm:pt modelId="{79DAC246-9C9A-4BC4-B0FA-96AB51B4948F}" type="parTrans" cxnId="{E1FADD82-062A-4C4A-AF87-E38D24A984E8}">
      <dgm:prSet/>
      <dgm:spPr/>
      <dgm:t>
        <a:bodyPr/>
        <a:lstStyle/>
        <a:p>
          <a:endParaRPr lang="pt-BR" sz="1400"/>
        </a:p>
      </dgm:t>
    </dgm:pt>
    <dgm:pt modelId="{38578DCF-8C8C-4D7C-B425-977CED4D3E07}">
      <dgm:prSet phldrT="[Texto]" custT="1"/>
      <dgm:spPr>
        <a:xfrm rot="10800000">
          <a:off x="0" y="2033481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1538226"/>
                <a:satOff val="13869"/>
                <a:lumOff val="2942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1538226"/>
                <a:satOff val="13869"/>
                <a:lumOff val="2942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Mapa estratégico</a:t>
          </a:r>
        </a:p>
      </dgm:t>
    </dgm:pt>
    <dgm:pt modelId="{FB7724AA-D4C8-400C-BEEE-A1A74BBD5B42}" type="parTrans" cxnId="{6369F2AA-2F27-4A35-92D9-1DB807D19305}">
      <dgm:prSet/>
      <dgm:spPr/>
      <dgm:t>
        <a:bodyPr/>
        <a:lstStyle/>
        <a:p>
          <a:endParaRPr lang="pt-BR" sz="1400"/>
        </a:p>
      </dgm:t>
    </dgm:pt>
    <dgm:pt modelId="{5AEF3123-79C6-40C4-988E-ACC30E0D2EED}" type="sibTrans" cxnId="{6369F2AA-2F27-4A35-92D9-1DB807D19305}">
      <dgm:prSet/>
      <dgm:spPr/>
      <dgm:t>
        <a:bodyPr/>
        <a:lstStyle/>
        <a:p>
          <a:endParaRPr lang="pt-BR" sz="1400"/>
        </a:p>
      </dgm:t>
    </dgm:pt>
    <dgm:pt modelId="{E00FB8E1-1928-4D89-A2AC-03C1FEC3E9D7}">
      <dgm:prSet phldrT="[Texto]" custT="1"/>
      <dgm:spPr>
        <a:xfrm rot="10800000">
          <a:off x="0" y="2541534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1153670"/>
                <a:satOff val="10402"/>
                <a:lumOff val="2206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1153670"/>
                <a:satOff val="10402"/>
                <a:lumOff val="2206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i="1" dirty="0" err="1">
              <a:solidFill>
                <a:srgbClr val="135989"/>
              </a:solidFill>
              <a:latin typeface="Krub Medium"/>
              <a:ea typeface="Verdana"/>
              <a:cs typeface="+mn-cs"/>
            </a:rPr>
            <a:t>Balanced</a:t>
          </a:r>
          <a:r>
            <a:rPr lang="pt-BR" sz="1800" b="1" i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 Scorecard</a:t>
          </a:r>
        </a:p>
      </dgm:t>
    </dgm:pt>
    <dgm:pt modelId="{6CDFBC7D-AEA6-4643-A762-CD7AA3A4E437}" type="parTrans" cxnId="{DA0F40D5-AFA8-4AB2-A805-A43FF8A635C0}">
      <dgm:prSet/>
      <dgm:spPr/>
      <dgm:t>
        <a:bodyPr/>
        <a:lstStyle/>
        <a:p>
          <a:endParaRPr lang="pt-BR" sz="1400"/>
        </a:p>
      </dgm:t>
    </dgm:pt>
    <dgm:pt modelId="{D3DE1132-7038-4E21-8D12-192020C1AC3E}" type="sibTrans" cxnId="{DA0F40D5-AFA8-4AB2-A805-A43FF8A635C0}">
      <dgm:prSet/>
      <dgm:spPr/>
      <dgm:t>
        <a:bodyPr/>
        <a:lstStyle/>
        <a:p>
          <a:endParaRPr lang="pt-BR" sz="1400"/>
        </a:p>
      </dgm:t>
    </dgm:pt>
    <dgm:pt modelId="{D50BD234-BE4D-4C66-AC92-BF72AC817AF5}">
      <dgm:prSet phldrT="[Texto]" custT="1"/>
      <dgm:spPr>
        <a:xfrm rot="10800000">
          <a:off x="0" y="3049586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769113"/>
                <a:satOff val="6934"/>
                <a:lumOff val="1471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769113"/>
                <a:satOff val="6934"/>
                <a:lumOff val="1471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Metas e iniciativas</a:t>
          </a:r>
        </a:p>
      </dgm:t>
    </dgm:pt>
    <dgm:pt modelId="{298668B3-F435-459C-93EC-2F0B606761BE}" type="parTrans" cxnId="{F243C1E5-E324-49D6-BB16-858E69DF1335}">
      <dgm:prSet/>
      <dgm:spPr/>
      <dgm:t>
        <a:bodyPr/>
        <a:lstStyle/>
        <a:p>
          <a:endParaRPr lang="pt-BR" sz="1400"/>
        </a:p>
      </dgm:t>
    </dgm:pt>
    <dgm:pt modelId="{C847098F-2A30-4062-AD80-0118A21CB646}" type="sibTrans" cxnId="{F243C1E5-E324-49D6-BB16-858E69DF1335}">
      <dgm:prSet/>
      <dgm:spPr/>
      <dgm:t>
        <a:bodyPr/>
        <a:lstStyle/>
        <a:p>
          <a:endParaRPr lang="pt-BR" sz="1400"/>
        </a:p>
      </dgm:t>
    </dgm:pt>
    <dgm:pt modelId="{59F26031-BDE5-4F81-B06C-95E0C533FD32}">
      <dgm:prSet phldrT="[Texto]" custT="1"/>
      <dgm:spPr>
        <a:xfrm rot="10800000">
          <a:off x="0" y="3557638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384557"/>
                <a:satOff val="3467"/>
                <a:lumOff val="735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384557"/>
                <a:satOff val="3467"/>
                <a:lumOff val="735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Objetivos pessoais</a:t>
          </a:r>
        </a:p>
      </dgm:t>
    </dgm:pt>
    <dgm:pt modelId="{8E2456C3-F15A-401C-8909-7C07A369AA58}" type="parTrans" cxnId="{62D3E5D7-9B28-49E2-A2CE-F427C3DA5930}">
      <dgm:prSet/>
      <dgm:spPr/>
      <dgm:t>
        <a:bodyPr/>
        <a:lstStyle/>
        <a:p>
          <a:endParaRPr lang="pt-BR" sz="1400"/>
        </a:p>
      </dgm:t>
    </dgm:pt>
    <dgm:pt modelId="{64FBB27E-4D91-4BF5-BE31-D64CBF34B608}" type="sibTrans" cxnId="{62D3E5D7-9B28-49E2-A2CE-F427C3DA5930}">
      <dgm:prSet/>
      <dgm:spPr/>
      <dgm:t>
        <a:bodyPr/>
        <a:lstStyle/>
        <a:p>
          <a:endParaRPr lang="pt-BR" sz="1400"/>
        </a:p>
      </dgm:t>
    </dgm:pt>
    <dgm:pt modelId="{50B3E9A3-16DA-42C2-8F12-06140C35E20F}">
      <dgm:prSet phldrT="[Texto]" custT="1"/>
      <dgm:spPr>
        <a:xfrm>
          <a:off x="0" y="4065691"/>
          <a:ext cx="10783491" cy="333586"/>
        </a:xfrm>
        <a:prstGeom prst="rect">
          <a:avLst/>
        </a:prstGeom>
        <a:gradFill rotWithShape="0">
          <a:gsLst>
            <a:gs pos="0">
              <a:srgbClr val="61D836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</dgm:spPr>
      <dgm:t>
        <a:bodyPr/>
        <a:lstStyle/>
        <a:p>
          <a:pPr>
            <a:buNone/>
          </a:pPr>
          <a:r>
            <a:rPr lang="pt-BR" sz="1800" b="1" dirty="0">
              <a:solidFill>
                <a:srgbClr val="135989"/>
              </a:solidFill>
              <a:latin typeface="Krub Medium"/>
              <a:ea typeface="Verdana"/>
              <a:cs typeface="+mn-cs"/>
            </a:rPr>
            <a:t>Resultados (entregas) estratégicos</a:t>
          </a:r>
        </a:p>
      </dgm:t>
    </dgm:pt>
    <dgm:pt modelId="{3190C194-339E-4221-8FB0-4325B13B7CBB}" type="parTrans" cxnId="{05C590D5-64E5-44EA-8964-561527FAE2BA}">
      <dgm:prSet/>
      <dgm:spPr/>
      <dgm:t>
        <a:bodyPr/>
        <a:lstStyle/>
        <a:p>
          <a:endParaRPr lang="pt-BR" sz="1400"/>
        </a:p>
      </dgm:t>
    </dgm:pt>
    <dgm:pt modelId="{4A8BCCC1-BA54-4267-BD79-4D27D9EC9A9A}" type="sibTrans" cxnId="{05C590D5-64E5-44EA-8964-561527FAE2BA}">
      <dgm:prSet/>
      <dgm:spPr/>
      <dgm:t>
        <a:bodyPr/>
        <a:lstStyle/>
        <a:p>
          <a:endParaRPr lang="pt-BR" sz="1400"/>
        </a:p>
      </dgm:t>
    </dgm:pt>
    <dgm:pt modelId="{D00D508B-F3B2-4AD1-8376-120B6A7E263C}" type="pres">
      <dgm:prSet presAssocID="{1E7D4811-CD1E-4FEF-BD17-40C90A64DA90}" presName="Name0" presStyleCnt="0">
        <dgm:presLayoutVars>
          <dgm:dir/>
          <dgm:animLvl val="lvl"/>
          <dgm:resizeHandles val="exact"/>
        </dgm:presLayoutVars>
      </dgm:prSet>
      <dgm:spPr/>
    </dgm:pt>
    <dgm:pt modelId="{8CC9C4BB-91BD-491B-AA82-7C36BFEADC97}" type="pres">
      <dgm:prSet presAssocID="{50B3E9A3-16DA-42C2-8F12-06140C35E20F}" presName="boxAndChildren" presStyleCnt="0"/>
      <dgm:spPr/>
    </dgm:pt>
    <dgm:pt modelId="{BF398FC0-A270-4E07-89C0-6FF63A03298B}" type="pres">
      <dgm:prSet presAssocID="{50B3E9A3-16DA-42C2-8F12-06140C35E20F}" presName="parentTextBox" presStyleLbl="node1" presStyleIdx="0" presStyleCnt="9"/>
      <dgm:spPr/>
    </dgm:pt>
    <dgm:pt modelId="{8DC5B7B9-4673-4D6F-9B48-0FD1C8D8D41A}" type="pres">
      <dgm:prSet presAssocID="{64FBB27E-4D91-4BF5-BE31-D64CBF34B608}" presName="sp" presStyleCnt="0"/>
      <dgm:spPr/>
    </dgm:pt>
    <dgm:pt modelId="{FBDF0B0F-F21F-43D7-8C5C-96C5117147BD}" type="pres">
      <dgm:prSet presAssocID="{59F26031-BDE5-4F81-B06C-95E0C533FD32}" presName="arrowAndChildren" presStyleCnt="0"/>
      <dgm:spPr/>
    </dgm:pt>
    <dgm:pt modelId="{11B6E446-34E4-4F62-85CE-9AB8297BC0B0}" type="pres">
      <dgm:prSet presAssocID="{59F26031-BDE5-4F81-B06C-95E0C533FD32}" presName="parentTextArrow" presStyleLbl="node1" presStyleIdx="1" presStyleCnt="9"/>
      <dgm:spPr/>
    </dgm:pt>
    <dgm:pt modelId="{05970AED-889C-49F6-A89D-F25766EC76BF}" type="pres">
      <dgm:prSet presAssocID="{C847098F-2A30-4062-AD80-0118A21CB646}" presName="sp" presStyleCnt="0"/>
      <dgm:spPr/>
    </dgm:pt>
    <dgm:pt modelId="{377D2F83-59BC-4C0F-AF3C-450D9D0A69AA}" type="pres">
      <dgm:prSet presAssocID="{D50BD234-BE4D-4C66-AC92-BF72AC817AF5}" presName="arrowAndChildren" presStyleCnt="0"/>
      <dgm:spPr/>
    </dgm:pt>
    <dgm:pt modelId="{60408BE2-E338-4538-8F7E-0E7714E816F7}" type="pres">
      <dgm:prSet presAssocID="{D50BD234-BE4D-4C66-AC92-BF72AC817AF5}" presName="parentTextArrow" presStyleLbl="node1" presStyleIdx="2" presStyleCnt="9"/>
      <dgm:spPr/>
    </dgm:pt>
    <dgm:pt modelId="{3D50046D-B419-431C-9378-4147EA1931BD}" type="pres">
      <dgm:prSet presAssocID="{D3DE1132-7038-4E21-8D12-192020C1AC3E}" presName="sp" presStyleCnt="0"/>
      <dgm:spPr/>
    </dgm:pt>
    <dgm:pt modelId="{C6FC093D-D123-4288-A559-AF4D050820F0}" type="pres">
      <dgm:prSet presAssocID="{E00FB8E1-1928-4D89-A2AC-03C1FEC3E9D7}" presName="arrowAndChildren" presStyleCnt="0"/>
      <dgm:spPr/>
    </dgm:pt>
    <dgm:pt modelId="{4814EF29-9E73-41F8-B98A-A3B99DBB722C}" type="pres">
      <dgm:prSet presAssocID="{E00FB8E1-1928-4D89-A2AC-03C1FEC3E9D7}" presName="parentTextArrow" presStyleLbl="node1" presStyleIdx="3" presStyleCnt="9"/>
      <dgm:spPr/>
    </dgm:pt>
    <dgm:pt modelId="{D71BCD3E-9DC7-4539-9772-66A762A9E932}" type="pres">
      <dgm:prSet presAssocID="{5AEF3123-79C6-40C4-988E-ACC30E0D2EED}" presName="sp" presStyleCnt="0"/>
      <dgm:spPr/>
    </dgm:pt>
    <dgm:pt modelId="{53EE2131-A794-4D6C-8FA3-A51C0E8351B0}" type="pres">
      <dgm:prSet presAssocID="{38578DCF-8C8C-4D7C-B425-977CED4D3E07}" presName="arrowAndChildren" presStyleCnt="0"/>
      <dgm:spPr/>
    </dgm:pt>
    <dgm:pt modelId="{B04E183D-398C-4CF8-A475-2AD8A9E2046E}" type="pres">
      <dgm:prSet presAssocID="{38578DCF-8C8C-4D7C-B425-977CED4D3E07}" presName="parentTextArrow" presStyleLbl="node1" presStyleIdx="4" presStyleCnt="9"/>
      <dgm:spPr/>
    </dgm:pt>
    <dgm:pt modelId="{CEDB71FC-27A9-4D9C-8663-70409C5612B5}" type="pres">
      <dgm:prSet presAssocID="{D4B565F8-F50A-4CE2-9A6B-D8A0DC25BAAD}" presName="sp" presStyleCnt="0"/>
      <dgm:spPr/>
    </dgm:pt>
    <dgm:pt modelId="{3019A1D3-D7DB-465E-AB21-503DE27A555E}" type="pres">
      <dgm:prSet presAssocID="{0501A9A5-C4C6-4B8B-8175-CEB71771D591}" presName="arrowAndChildren" presStyleCnt="0"/>
      <dgm:spPr/>
    </dgm:pt>
    <dgm:pt modelId="{F48ABC2F-AC5B-4FFC-981B-88F6C0179496}" type="pres">
      <dgm:prSet presAssocID="{0501A9A5-C4C6-4B8B-8175-CEB71771D591}" presName="parentTextArrow" presStyleLbl="node1" presStyleIdx="5" presStyleCnt="9"/>
      <dgm:spPr/>
    </dgm:pt>
    <dgm:pt modelId="{A9ECF03E-A1BA-4680-BC93-D15769B9D909}" type="pres">
      <dgm:prSet presAssocID="{2BCE3354-17E8-4B7B-9B84-5205F7B22F65}" presName="sp" presStyleCnt="0"/>
      <dgm:spPr/>
    </dgm:pt>
    <dgm:pt modelId="{074F5BAB-31F8-4EE1-9F03-F62FA79F8B7C}" type="pres">
      <dgm:prSet presAssocID="{079AE145-0749-41B1-B3D6-6C096A1F4D2C}" presName="arrowAndChildren" presStyleCnt="0"/>
      <dgm:spPr/>
    </dgm:pt>
    <dgm:pt modelId="{A2F83695-43C2-4EA7-8369-FFA1C6A0FBB2}" type="pres">
      <dgm:prSet presAssocID="{079AE145-0749-41B1-B3D6-6C096A1F4D2C}" presName="parentTextArrow" presStyleLbl="node1" presStyleIdx="6" presStyleCnt="9"/>
      <dgm:spPr/>
    </dgm:pt>
    <dgm:pt modelId="{05A51689-BD0A-472F-B241-3E1D3596E27E}" type="pres">
      <dgm:prSet presAssocID="{A464AF92-71AE-426A-AB98-C078014B87D0}" presName="sp" presStyleCnt="0"/>
      <dgm:spPr/>
    </dgm:pt>
    <dgm:pt modelId="{6FB12846-C3F7-4A46-A48D-3DDFD2D2E1BD}" type="pres">
      <dgm:prSet presAssocID="{73DC9DA2-CB45-4514-8419-9A5D541B882B}" presName="arrowAndChildren" presStyleCnt="0"/>
      <dgm:spPr/>
    </dgm:pt>
    <dgm:pt modelId="{AB2A0834-7854-4500-988B-37066A17822C}" type="pres">
      <dgm:prSet presAssocID="{73DC9DA2-CB45-4514-8419-9A5D541B882B}" presName="parentTextArrow" presStyleLbl="node1" presStyleIdx="7" presStyleCnt="9"/>
      <dgm:spPr/>
    </dgm:pt>
    <dgm:pt modelId="{C00E171D-B7C8-4599-A9F7-FB327E84DD28}" type="pres">
      <dgm:prSet presAssocID="{ED016DE8-523B-49DA-820F-B3502532CB53}" presName="sp" presStyleCnt="0"/>
      <dgm:spPr/>
    </dgm:pt>
    <dgm:pt modelId="{D7FB5406-AC41-4D13-A942-C76986A199B4}" type="pres">
      <dgm:prSet presAssocID="{5EBA3B42-B7B9-4A0F-89F3-998E20361A45}" presName="arrowAndChildren" presStyleCnt="0"/>
      <dgm:spPr/>
    </dgm:pt>
    <dgm:pt modelId="{2FC724D1-E1B0-4C75-98BA-6B84709BEB07}" type="pres">
      <dgm:prSet presAssocID="{5EBA3B42-B7B9-4A0F-89F3-998E20361A45}" presName="parentTextArrow" presStyleLbl="node1" presStyleIdx="8" presStyleCnt="9"/>
      <dgm:spPr/>
    </dgm:pt>
  </dgm:ptLst>
  <dgm:cxnLst>
    <dgm:cxn modelId="{C15A3A12-45D2-4EAB-92A7-C738D2C56047}" type="presOf" srcId="{079AE145-0749-41B1-B3D6-6C096A1F4D2C}" destId="{A2F83695-43C2-4EA7-8369-FFA1C6A0FBB2}" srcOrd="0" destOrd="0" presId="urn:microsoft.com/office/officeart/2005/8/layout/process4"/>
    <dgm:cxn modelId="{CD49DA35-1D34-4988-85EF-A1201E9F55AE}" type="presOf" srcId="{1E7D4811-CD1E-4FEF-BD17-40C90A64DA90}" destId="{D00D508B-F3B2-4AD1-8376-120B6A7E263C}" srcOrd="0" destOrd="0" presId="urn:microsoft.com/office/officeart/2005/8/layout/process4"/>
    <dgm:cxn modelId="{B479B866-B915-4760-AA58-70F06FA281C7}" type="presOf" srcId="{59F26031-BDE5-4F81-B06C-95E0C533FD32}" destId="{11B6E446-34E4-4F62-85CE-9AB8297BC0B0}" srcOrd="0" destOrd="0" presId="urn:microsoft.com/office/officeart/2005/8/layout/process4"/>
    <dgm:cxn modelId="{A127DF6E-3F37-4883-87EB-5822499FD178}" type="presOf" srcId="{38578DCF-8C8C-4D7C-B425-977CED4D3E07}" destId="{B04E183D-398C-4CF8-A475-2AD8A9E2046E}" srcOrd="0" destOrd="0" presId="urn:microsoft.com/office/officeart/2005/8/layout/process4"/>
    <dgm:cxn modelId="{A134EC72-132B-408D-874D-B6CF82F56EC9}" type="presOf" srcId="{50B3E9A3-16DA-42C2-8F12-06140C35E20F}" destId="{BF398FC0-A270-4E07-89C0-6FF63A03298B}" srcOrd="0" destOrd="0" presId="urn:microsoft.com/office/officeart/2005/8/layout/process4"/>
    <dgm:cxn modelId="{9A72A259-DBBC-416B-9AE9-4148B748C89B}" type="presOf" srcId="{0501A9A5-C4C6-4B8B-8175-CEB71771D591}" destId="{F48ABC2F-AC5B-4FFC-981B-88F6C0179496}" srcOrd="0" destOrd="0" presId="urn:microsoft.com/office/officeart/2005/8/layout/process4"/>
    <dgm:cxn modelId="{E1FADD82-062A-4C4A-AF87-E38D24A984E8}" srcId="{1E7D4811-CD1E-4FEF-BD17-40C90A64DA90}" destId="{079AE145-0749-41B1-B3D6-6C096A1F4D2C}" srcOrd="2" destOrd="0" parTransId="{79DAC246-9C9A-4BC4-B0FA-96AB51B4948F}" sibTransId="{2BCE3354-17E8-4B7B-9B84-5205F7B22F65}"/>
    <dgm:cxn modelId="{6369F2AA-2F27-4A35-92D9-1DB807D19305}" srcId="{1E7D4811-CD1E-4FEF-BD17-40C90A64DA90}" destId="{38578DCF-8C8C-4D7C-B425-977CED4D3E07}" srcOrd="4" destOrd="0" parTransId="{FB7724AA-D4C8-400C-BEEE-A1A74BBD5B42}" sibTransId="{5AEF3123-79C6-40C4-988E-ACC30E0D2EED}"/>
    <dgm:cxn modelId="{E48123B3-AEF7-4297-8AFC-08473824725C}" type="presOf" srcId="{73DC9DA2-CB45-4514-8419-9A5D541B882B}" destId="{AB2A0834-7854-4500-988B-37066A17822C}" srcOrd="0" destOrd="0" presId="urn:microsoft.com/office/officeart/2005/8/layout/process4"/>
    <dgm:cxn modelId="{3A15C7BE-E7FB-43F0-B073-6D8402325D84}" type="presOf" srcId="{E00FB8E1-1928-4D89-A2AC-03C1FEC3E9D7}" destId="{4814EF29-9E73-41F8-B98A-A3B99DBB722C}" srcOrd="0" destOrd="0" presId="urn:microsoft.com/office/officeart/2005/8/layout/process4"/>
    <dgm:cxn modelId="{86E498D0-5179-45C0-83DC-587867ED2C4F}" type="presOf" srcId="{5EBA3B42-B7B9-4A0F-89F3-998E20361A45}" destId="{2FC724D1-E1B0-4C75-98BA-6B84709BEB07}" srcOrd="0" destOrd="0" presId="urn:microsoft.com/office/officeart/2005/8/layout/process4"/>
    <dgm:cxn modelId="{DA0F40D5-AFA8-4AB2-A805-A43FF8A635C0}" srcId="{1E7D4811-CD1E-4FEF-BD17-40C90A64DA90}" destId="{E00FB8E1-1928-4D89-A2AC-03C1FEC3E9D7}" srcOrd="5" destOrd="0" parTransId="{6CDFBC7D-AEA6-4643-A762-CD7AA3A4E437}" sibTransId="{D3DE1132-7038-4E21-8D12-192020C1AC3E}"/>
    <dgm:cxn modelId="{05C590D5-64E5-44EA-8964-561527FAE2BA}" srcId="{1E7D4811-CD1E-4FEF-BD17-40C90A64DA90}" destId="{50B3E9A3-16DA-42C2-8F12-06140C35E20F}" srcOrd="8" destOrd="0" parTransId="{3190C194-339E-4221-8FB0-4325B13B7CBB}" sibTransId="{4A8BCCC1-BA54-4267-BD79-4D27D9EC9A9A}"/>
    <dgm:cxn modelId="{62D3E5D7-9B28-49E2-A2CE-F427C3DA5930}" srcId="{1E7D4811-CD1E-4FEF-BD17-40C90A64DA90}" destId="{59F26031-BDE5-4F81-B06C-95E0C533FD32}" srcOrd="7" destOrd="0" parTransId="{8E2456C3-F15A-401C-8909-7C07A369AA58}" sibTransId="{64FBB27E-4D91-4BF5-BE31-D64CBF34B608}"/>
    <dgm:cxn modelId="{F243C1E5-E324-49D6-BB16-858E69DF1335}" srcId="{1E7D4811-CD1E-4FEF-BD17-40C90A64DA90}" destId="{D50BD234-BE4D-4C66-AC92-BF72AC817AF5}" srcOrd="6" destOrd="0" parTransId="{298668B3-F435-459C-93EC-2F0B606761BE}" sibTransId="{C847098F-2A30-4062-AD80-0118A21CB646}"/>
    <dgm:cxn modelId="{5C80E4E6-F43D-42C6-9122-FC9A88C18C74}" srcId="{1E7D4811-CD1E-4FEF-BD17-40C90A64DA90}" destId="{73DC9DA2-CB45-4514-8419-9A5D541B882B}" srcOrd="1" destOrd="0" parTransId="{40EFF420-2CC7-48EB-AFD4-577305FFB07F}" sibTransId="{A464AF92-71AE-426A-AB98-C078014B87D0}"/>
    <dgm:cxn modelId="{660927E9-B314-46A4-8D01-6BE3AD971601}" type="presOf" srcId="{D50BD234-BE4D-4C66-AC92-BF72AC817AF5}" destId="{60408BE2-E338-4538-8F7E-0E7714E816F7}" srcOrd="0" destOrd="0" presId="urn:microsoft.com/office/officeart/2005/8/layout/process4"/>
    <dgm:cxn modelId="{DBA42CF9-4BF6-463B-B274-BFFE4DC90337}" srcId="{1E7D4811-CD1E-4FEF-BD17-40C90A64DA90}" destId="{5EBA3B42-B7B9-4A0F-89F3-998E20361A45}" srcOrd="0" destOrd="0" parTransId="{782CBCEA-EFB7-4CE7-891D-EA65F978C09D}" sibTransId="{ED016DE8-523B-49DA-820F-B3502532CB53}"/>
    <dgm:cxn modelId="{336272FD-EBEA-4A24-B029-258A11340C2B}" srcId="{1E7D4811-CD1E-4FEF-BD17-40C90A64DA90}" destId="{0501A9A5-C4C6-4B8B-8175-CEB71771D591}" srcOrd="3" destOrd="0" parTransId="{A48170D4-1313-4B4A-B415-FBD8DBB3B1D1}" sibTransId="{D4B565F8-F50A-4CE2-9A6B-D8A0DC25BAAD}"/>
    <dgm:cxn modelId="{6DF4F0EA-3530-4107-9DC6-32CFF32EB517}" type="presParOf" srcId="{D00D508B-F3B2-4AD1-8376-120B6A7E263C}" destId="{8CC9C4BB-91BD-491B-AA82-7C36BFEADC97}" srcOrd="0" destOrd="0" presId="urn:microsoft.com/office/officeart/2005/8/layout/process4"/>
    <dgm:cxn modelId="{BCFDBCF1-C12B-4C1B-AD40-CC52F3275D2C}" type="presParOf" srcId="{8CC9C4BB-91BD-491B-AA82-7C36BFEADC97}" destId="{BF398FC0-A270-4E07-89C0-6FF63A03298B}" srcOrd="0" destOrd="0" presId="urn:microsoft.com/office/officeart/2005/8/layout/process4"/>
    <dgm:cxn modelId="{803E0B43-7297-4045-842B-BE2B90E07063}" type="presParOf" srcId="{D00D508B-F3B2-4AD1-8376-120B6A7E263C}" destId="{8DC5B7B9-4673-4D6F-9B48-0FD1C8D8D41A}" srcOrd="1" destOrd="0" presId="urn:microsoft.com/office/officeart/2005/8/layout/process4"/>
    <dgm:cxn modelId="{F8C55462-E7C2-45CB-972D-187BA9CDBEC6}" type="presParOf" srcId="{D00D508B-F3B2-4AD1-8376-120B6A7E263C}" destId="{FBDF0B0F-F21F-43D7-8C5C-96C5117147BD}" srcOrd="2" destOrd="0" presId="urn:microsoft.com/office/officeart/2005/8/layout/process4"/>
    <dgm:cxn modelId="{2C73CA28-E6C7-482B-93AF-69FAB1D1A56B}" type="presParOf" srcId="{FBDF0B0F-F21F-43D7-8C5C-96C5117147BD}" destId="{11B6E446-34E4-4F62-85CE-9AB8297BC0B0}" srcOrd="0" destOrd="0" presId="urn:microsoft.com/office/officeart/2005/8/layout/process4"/>
    <dgm:cxn modelId="{7658E933-6BE2-46BC-B2D0-9BCEAF3A7239}" type="presParOf" srcId="{D00D508B-F3B2-4AD1-8376-120B6A7E263C}" destId="{05970AED-889C-49F6-A89D-F25766EC76BF}" srcOrd="3" destOrd="0" presId="urn:microsoft.com/office/officeart/2005/8/layout/process4"/>
    <dgm:cxn modelId="{228458A6-DEAB-4B78-9D90-3E1C2923D5A0}" type="presParOf" srcId="{D00D508B-F3B2-4AD1-8376-120B6A7E263C}" destId="{377D2F83-59BC-4C0F-AF3C-450D9D0A69AA}" srcOrd="4" destOrd="0" presId="urn:microsoft.com/office/officeart/2005/8/layout/process4"/>
    <dgm:cxn modelId="{446D982C-7B9F-4BE7-8002-536213F5CCCE}" type="presParOf" srcId="{377D2F83-59BC-4C0F-AF3C-450D9D0A69AA}" destId="{60408BE2-E338-4538-8F7E-0E7714E816F7}" srcOrd="0" destOrd="0" presId="urn:microsoft.com/office/officeart/2005/8/layout/process4"/>
    <dgm:cxn modelId="{38931513-9FF2-47F3-8FD1-DBCCB71AA1FB}" type="presParOf" srcId="{D00D508B-F3B2-4AD1-8376-120B6A7E263C}" destId="{3D50046D-B419-431C-9378-4147EA1931BD}" srcOrd="5" destOrd="0" presId="urn:microsoft.com/office/officeart/2005/8/layout/process4"/>
    <dgm:cxn modelId="{CCBC0682-AAA1-40E4-90EF-34105A46E83E}" type="presParOf" srcId="{D00D508B-F3B2-4AD1-8376-120B6A7E263C}" destId="{C6FC093D-D123-4288-A559-AF4D050820F0}" srcOrd="6" destOrd="0" presId="urn:microsoft.com/office/officeart/2005/8/layout/process4"/>
    <dgm:cxn modelId="{635C18D4-F798-47D8-BFD6-264A2F9548F0}" type="presParOf" srcId="{C6FC093D-D123-4288-A559-AF4D050820F0}" destId="{4814EF29-9E73-41F8-B98A-A3B99DBB722C}" srcOrd="0" destOrd="0" presId="urn:microsoft.com/office/officeart/2005/8/layout/process4"/>
    <dgm:cxn modelId="{9846FD55-46D3-435C-A533-75203A8F0703}" type="presParOf" srcId="{D00D508B-F3B2-4AD1-8376-120B6A7E263C}" destId="{D71BCD3E-9DC7-4539-9772-66A762A9E932}" srcOrd="7" destOrd="0" presId="urn:microsoft.com/office/officeart/2005/8/layout/process4"/>
    <dgm:cxn modelId="{9CCF6C53-06B1-4F7A-981C-DF78D591F1ED}" type="presParOf" srcId="{D00D508B-F3B2-4AD1-8376-120B6A7E263C}" destId="{53EE2131-A794-4D6C-8FA3-A51C0E8351B0}" srcOrd="8" destOrd="0" presId="urn:microsoft.com/office/officeart/2005/8/layout/process4"/>
    <dgm:cxn modelId="{9967FF2A-771A-415B-8FD9-DE577FFBA5D0}" type="presParOf" srcId="{53EE2131-A794-4D6C-8FA3-A51C0E8351B0}" destId="{B04E183D-398C-4CF8-A475-2AD8A9E2046E}" srcOrd="0" destOrd="0" presId="urn:microsoft.com/office/officeart/2005/8/layout/process4"/>
    <dgm:cxn modelId="{47B31E52-1F9A-4A44-B527-6481E0476F50}" type="presParOf" srcId="{D00D508B-F3B2-4AD1-8376-120B6A7E263C}" destId="{CEDB71FC-27A9-4D9C-8663-70409C5612B5}" srcOrd="9" destOrd="0" presId="urn:microsoft.com/office/officeart/2005/8/layout/process4"/>
    <dgm:cxn modelId="{EC086C7B-92EF-4A33-A14F-DAE4374E0D62}" type="presParOf" srcId="{D00D508B-F3B2-4AD1-8376-120B6A7E263C}" destId="{3019A1D3-D7DB-465E-AB21-503DE27A555E}" srcOrd="10" destOrd="0" presId="urn:microsoft.com/office/officeart/2005/8/layout/process4"/>
    <dgm:cxn modelId="{D468D74B-C5AB-4F69-A829-F4622662EA53}" type="presParOf" srcId="{3019A1D3-D7DB-465E-AB21-503DE27A555E}" destId="{F48ABC2F-AC5B-4FFC-981B-88F6C0179496}" srcOrd="0" destOrd="0" presId="urn:microsoft.com/office/officeart/2005/8/layout/process4"/>
    <dgm:cxn modelId="{E1521CC5-F3B4-429F-967B-91B64F49F3CD}" type="presParOf" srcId="{D00D508B-F3B2-4AD1-8376-120B6A7E263C}" destId="{A9ECF03E-A1BA-4680-BC93-D15769B9D909}" srcOrd="11" destOrd="0" presId="urn:microsoft.com/office/officeart/2005/8/layout/process4"/>
    <dgm:cxn modelId="{EB782FE2-ADB7-46ED-AB21-F2E475D92459}" type="presParOf" srcId="{D00D508B-F3B2-4AD1-8376-120B6A7E263C}" destId="{074F5BAB-31F8-4EE1-9F03-F62FA79F8B7C}" srcOrd="12" destOrd="0" presId="urn:microsoft.com/office/officeart/2005/8/layout/process4"/>
    <dgm:cxn modelId="{7606823B-27B7-4F0C-AF11-F6E2226657BE}" type="presParOf" srcId="{074F5BAB-31F8-4EE1-9F03-F62FA79F8B7C}" destId="{A2F83695-43C2-4EA7-8369-FFA1C6A0FBB2}" srcOrd="0" destOrd="0" presId="urn:microsoft.com/office/officeart/2005/8/layout/process4"/>
    <dgm:cxn modelId="{9BF51778-B234-46D6-B026-07A4FCB3AE6F}" type="presParOf" srcId="{D00D508B-F3B2-4AD1-8376-120B6A7E263C}" destId="{05A51689-BD0A-472F-B241-3E1D3596E27E}" srcOrd="13" destOrd="0" presId="urn:microsoft.com/office/officeart/2005/8/layout/process4"/>
    <dgm:cxn modelId="{0E1B7812-BACC-4BA5-9B3D-228C975F9EA8}" type="presParOf" srcId="{D00D508B-F3B2-4AD1-8376-120B6A7E263C}" destId="{6FB12846-C3F7-4A46-A48D-3DDFD2D2E1BD}" srcOrd="14" destOrd="0" presId="urn:microsoft.com/office/officeart/2005/8/layout/process4"/>
    <dgm:cxn modelId="{E2C02830-13B6-4A49-B2CF-CF826A162731}" type="presParOf" srcId="{6FB12846-C3F7-4A46-A48D-3DDFD2D2E1BD}" destId="{AB2A0834-7854-4500-988B-37066A17822C}" srcOrd="0" destOrd="0" presId="urn:microsoft.com/office/officeart/2005/8/layout/process4"/>
    <dgm:cxn modelId="{E5FA9DE7-5C2B-4E58-B19A-3A3E6243E397}" type="presParOf" srcId="{D00D508B-F3B2-4AD1-8376-120B6A7E263C}" destId="{C00E171D-B7C8-4599-A9F7-FB327E84DD28}" srcOrd="15" destOrd="0" presId="urn:microsoft.com/office/officeart/2005/8/layout/process4"/>
    <dgm:cxn modelId="{D47F04CD-9011-4141-983D-9E0F485BEAC6}" type="presParOf" srcId="{D00D508B-F3B2-4AD1-8376-120B6A7E263C}" destId="{D7FB5406-AC41-4D13-A942-C76986A199B4}" srcOrd="16" destOrd="0" presId="urn:microsoft.com/office/officeart/2005/8/layout/process4"/>
    <dgm:cxn modelId="{6471880F-DFFE-4AB0-8CAE-941B91649689}" type="presParOf" srcId="{D7FB5406-AC41-4D13-A942-C76986A199B4}" destId="{2FC724D1-E1B0-4C75-98BA-6B84709BEB07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DF65A6-536D-4440-8703-2DEA9602784D}" type="doc">
      <dgm:prSet loTypeId="urn:microsoft.com/office/officeart/2005/8/layout/cycle8" loCatId="cycle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6FB7765-B54E-4BED-A53F-0948EBCC8BA7}">
      <dgm:prSet custT="1"/>
      <dgm:spPr/>
      <dgm:t>
        <a:bodyPr/>
        <a:lstStyle/>
        <a:p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rocessos</a:t>
          </a:r>
          <a:r>
            <a:rPr lang="en-US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 Vs </a:t>
          </a:r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Resultados</a:t>
          </a:r>
          <a:endParaRPr lang="en-US" sz="2400" b="1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995C893-3909-4805-AF23-A9E3ABF65933}" type="parTrans" cxnId="{9E958193-FA82-478B-B27C-DC215FC2E571}">
      <dgm:prSet/>
      <dgm:spPr/>
      <dgm:t>
        <a:bodyPr/>
        <a:lstStyle/>
        <a:p>
          <a:endParaRPr lang="en-US"/>
        </a:p>
      </dgm:t>
    </dgm:pt>
    <dgm:pt modelId="{B3A75138-5B9F-4367-B659-512C9D1501D2}" type="sibTrans" cxnId="{9E958193-FA82-478B-B27C-DC215FC2E571}">
      <dgm:prSet/>
      <dgm:spPr/>
      <dgm:t>
        <a:bodyPr/>
        <a:lstStyle/>
        <a:p>
          <a:endParaRPr lang="en-US"/>
        </a:p>
      </dgm:t>
    </dgm:pt>
    <dgm:pt modelId="{2E3CF733-6B42-49E4-9F2F-6CE2287E93CF}">
      <dgm:prSet custT="1"/>
      <dgm:spPr/>
      <dgm:t>
        <a:bodyPr/>
        <a:lstStyle/>
        <a:p>
          <a:r>
            <a:rPr lang="en-US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essoas Vs </a:t>
          </a:r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Trabalho</a:t>
          </a:r>
          <a:endParaRPr lang="en-US" sz="2400" b="1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EFCAA40-A44D-4C0A-9567-3C4CFCA075AE}" type="parTrans" cxnId="{08E52848-CCE9-4C19-B54A-D7DC8F5B0DE8}">
      <dgm:prSet/>
      <dgm:spPr/>
      <dgm:t>
        <a:bodyPr/>
        <a:lstStyle/>
        <a:p>
          <a:endParaRPr lang="en-US"/>
        </a:p>
      </dgm:t>
    </dgm:pt>
    <dgm:pt modelId="{69B66B03-590D-4E53-B4B3-F981CD378B31}" type="sibTrans" cxnId="{08E52848-CCE9-4C19-B54A-D7DC8F5B0DE8}">
      <dgm:prSet/>
      <dgm:spPr/>
      <dgm:t>
        <a:bodyPr/>
        <a:lstStyle/>
        <a:p>
          <a:endParaRPr lang="en-US"/>
        </a:p>
      </dgm:t>
    </dgm:pt>
    <dgm:pt modelId="{7D74AE90-3258-4EAD-B8B1-56C184FC4EFE}">
      <dgm:prSet custT="1"/>
      <dgm:spPr/>
      <dgm:t>
        <a:bodyPr/>
        <a:lstStyle/>
        <a:p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aróquia</a:t>
          </a:r>
          <a:r>
            <a:rPr lang="en-US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rofissional</a:t>
          </a:r>
          <a:endParaRPr lang="en-US" sz="2400" b="1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0250668-E32C-4784-9F16-FAF28C0EC7F4}" type="parTrans" cxnId="{818BCBB9-ACB9-427C-84C2-268AE78F0AFB}">
      <dgm:prSet/>
      <dgm:spPr/>
      <dgm:t>
        <a:bodyPr/>
        <a:lstStyle/>
        <a:p>
          <a:endParaRPr lang="en-US"/>
        </a:p>
      </dgm:t>
    </dgm:pt>
    <dgm:pt modelId="{FBE07E44-BE15-4BE3-AA93-9A274049F0A2}" type="sibTrans" cxnId="{818BCBB9-ACB9-427C-84C2-268AE78F0AFB}">
      <dgm:prSet/>
      <dgm:spPr/>
      <dgm:t>
        <a:bodyPr/>
        <a:lstStyle/>
        <a:p>
          <a:endParaRPr lang="en-US"/>
        </a:p>
      </dgm:t>
    </dgm:pt>
    <dgm:pt modelId="{6AE781F3-47F3-4316-9B9C-D10F31273170}">
      <dgm:prSet custT="1"/>
      <dgm:spPr/>
      <dgm:t>
        <a:bodyPr/>
        <a:lstStyle/>
        <a:p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Fechado</a:t>
          </a:r>
          <a:r>
            <a:rPr lang="en-US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Aberto</a:t>
          </a:r>
          <a:endParaRPr lang="en-US" sz="2400" b="1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C5AF7A1-2310-4F00-863F-F14FBFC359D8}" type="parTrans" cxnId="{EFE89935-C6AA-4D60-99C8-B5474BCB0AA2}">
      <dgm:prSet/>
      <dgm:spPr/>
      <dgm:t>
        <a:bodyPr/>
        <a:lstStyle/>
        <a:p>
          <a:endParaRPr lang="en-US"/>
        </a:p>
      </dgm:t>
    </dgm:pt>
    <dgm:pt modelId="{11733CFF-184C-4336-A338-1D637910A896}" type="sibTrans" cxnId="{EFE89935-C6AA-4D60-99C8-B5474BCB0AA2}">
      <dgm:prSet/>
      <dgm:spPr/>
      <dgm:t>
        <a:bodyPr/>
        <a:lstStyle/>
        <a:p>
          <a:endParaRPr lang="en-US"/>
        </a:p>
      </dgm:t>
    </dgm:pt>
    <dgm:pt modelId="{7DFED2FC-0A94-4FF2-9091-5EDCA05435B4}">
      <dgm:prSet custT="1"/>
      <dgm:spPr/>
      <dgm:t>
        <a:bodyPr/>
        <a:lstStyle/>
        <a:p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Apertado</a:t>
          </a:r>
          <a:r>
            <a:rPr lang="en-US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Ligeiro</a:t>
          </a:r>
          <a:endParaRPr lang="en-US" sz="2400" b="1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4C8905D-65BF-4CCB-849C-95B2534E7741}" type="parTrans" cxnId="{AA0361B3-4E51-4308-AB0A-80EDE51E24E7}">
      <dgm:prSet/>
      <dgm:spPr/>
      <dgm:t>
        <a:bodyPr/>
        <a:lstStyle/>
        <a:p>
          <a:endParaRPr lang="en-US"/>
        </a:p>
      </dgm:t>
    </dgm:pt>
    <dgm:pt modelId="{F38B18FC-8B92-44ED-9B7A-AD2F094DDFA8}" type="sibTrans" cxnId="{AA0361B3-4E51-4308-AB0A-80EDE51E24E7}">
      <dgm:prSet/>
      <dgm:spPr/>
      <dgm:t>
        <a:bodyPr/>
        <a:lstStyle/>
        <a:p>
          <a:endParaRPr lang="en-US"/>
        </a:p>
      </dgm:t>
    </dgm:pt>
    <dgm:pt modelId="{CC726FF1-639A-470B-8DC1-69AA395A5038}">
      <dgm:prSet custT="1"/>
      <dgm:spPr>
        <a:solidFill>
          <a:srgbClr val="002060"/>
        </a:solidFill>
        <a:ln>
          <a:solidFill>
            <a:srgbClr val="FFC000"/>
          </a:solidFill>
        </a:ln>
      </dgm:spPr>
      <dgm:t>
        <a:bodyPr/>
        <a:lstStyle/>
        <a:p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Normativo</a:t>
          </a:r>
          <a:r>
            <a:rPr lang="en-US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ragmático</a:t>
          </a:r>
          <a:endParaRPr lang="en-US" sz="2400" b="1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89C20A6-1975-4F00-AE9D-38DB286DDD16}" type="parTrans" cxnId="{34DEAF35-D08F-48E1-9D5C-2885999E765D}">
      <dgm:prSet/>
      <dgm:spPr/>
      <dgm:t>
        <a:bodyPr/>
        <a:lstStyle/>
        <a:p>
          <a:endParaRPr lang="en-US"/>
        </a:p>
      </dgm:t>
    </dgm:pt>
    <dgm:pt modelId="{965ED2EE-5996-48D5-A467-0C2DFCDC8919}" type="sibTrans" cxnId="{34DEAF35-D08F-48E1-9D5C-2885999E765D}">
      <dgm:prSet/>
      <dgm:spPr/>
      <dgm:t>
        <a:bodyPr/>
        <a:lstStyle/>
        <a:p>
          <a:endParaRPr lang="en-US"/>
        </a:p>
      </dgm:t>
    </dgm:pt>
    <dgm:pt modelId="{477ACA93-CCF9-41FF-B0DA-020140E73E36}" type="pres">
      <dgm:prSet presAssocID="{86DF65A6-536D-4440-8703-2DEA9602784D}" presName="compositeShape" presStyleCnt="0">
        <dgm:presLayoutVars>
          <dgm:chMax val="7"/>
          <dgm:dir/>
          <dgm:resizeHandles val="exact"/>
        </dgm:presLayoutVars>
      </dgm:prSet>
      <dgm:spPr/>
    </dgm:pt>
    <dgm:pt modelId="{6C98348E-7E74-42E3-AA38-932FF8B208DF}" type="pres">
      <dgm:prSet presAssocID="{86DF65A6-536D-4440-8703-2DEA9602784D}" presName="wedge1" presStyleLbl="node1" presStyleIdx="0" presStyleCnt="6"/>
      <dgm:spPr/>
    </dgm:pt>
    <dgm:pt modelId="{A76872FF-8759-4DB4-BD0E-9E351FD52DED}" type="pres">
      <dgm:prSet presAssocID="{86DF65A6-536D-4440-8703-2DEA9602784D}" presName="dummy1a" presStyleCnt="0"/>
      <dgm:spPr/>
    </dgm:pt>
    <dgm:pt modelId="{9C5D09B1-64C3-4620-9B78-A5116B426DB5}" type="pres">
      <dgm:prSet presAssocID="{86DF65A6-536D-4440-8703-2DEA9602784D}" presName="dummy1b" presStyleCnt="0"/>
      <dgm:spPr/>
    </dgm:pt>
    <dgm:pt modelId="{8EB76261-CCB6-4310-B8A4-81E4216C43BD}" type="pres">
      <dgm:prSet presAssocID="{86DF65A6-536D-4440-8703-2DEA9602784D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D041962A-6C9F-4BB4-91E4-4229B9AFB299}" type="pres">
      <dgm:prSet presAssocID="{86DF65A6-536D-4440-8703-2DEA9602784D}" presName="wedge2" presStyleLbl="node1" presStyleIdx="1" presStyleCnt="6"/>
      <dgm:spPr/>
    </dgm:pt>
    <dgm:pt modelId="{B7EFD7C6-374D-4119-8838-7F676BD8EBAA}" type="pres">
      <dgm:prSet presAssocID="{86DF65A6-536D-4440-8703-2DEA9602784D}" presName="dummy2a" presStyleCnt="0"/>
      <dgm:spPr/>
    </dgm:pt>
    <dgm:pt modelId="{B432ADFE-425E-4705-ABA0-B4CB8886C52A}" type="pres">
      <dgm:prSet presAssocID="{86DF65A6-536D-4440-8703-2DEA9602784D}" presName="dummy2b" presStyleCnt="0"/>
      <dgm:spPr/>
    </dgm:pt>
    <dgm:pt modelId="{79D5725B-BBD2-4E2D-8C29-CED46E869FFE}" type="pres">
      <dgm:prSet presAssocID="{86DF65A6-536D-4440-8703-2DEA9602784D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6CD9B6C5-DB28-4129-B9C2-714241D5ADD0}" type="pres">
      <dgm:prSet presAssocID="{86DF65A6-536D-4440-8703-2DEA9602784D}" presName="wedge3" presStyleLbl="node1" presStyleIdx="2" presStyleCnt="6"/>
      <dgm:spPr/>
    </dgm:pt>
    <dgm:pt modelId="{EC94C5E8-E21E-42A7-87DA-7ABAD94104E0}" type="pres">
      <dgm:prSet presAssocID="{86DF65A6-536D-4440-8703-2DEA9602784D}" presName="dummy3a" presStyleCnt="0"/>
      <dgm:spPr/>
    </dgm:pt>
    <dgm:pt modelId="{E8DBEBAC-DD85-40A5-9F6F-E4FCF3097047}" type="pres">
      <dgm:prSet presAssocID="{86DF65A6-536D-4440-8703-2DEA9602784D}" presName="dummy3b" presStyleCnt="0"/>
      <dgm:spPr/>
    </dgm:pt>
    <dgm:pt modelId="{C50EC17D-281E-4844-A681-D714EF90B591}" type="pres">
      <dgm:prSet presAssocID="{86DF65A6-536D-4440-8703-2DEA9602784D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B7FC8175-B9CB-454F-9E9A-08E9BCB17A24}" type="pres">
      <dgm:prSet presAssocID="{86DF65A6-536D-4440-8703-2DEA9602784D}" presName="wedge4" presStyleLbl="node1" presStyleIdx="3" presStyleCnt="6"/>
      <dgm:spPr/>
    </dgm:pt>
    <dgm:pt modelId="{A3895D34-9FD5-4709-A0E2-FAD15D42338D}" type="pres">
      <dgm:prSet presAssocID="{86DF65A6-536D-4440-8703-2DEA9602784D}" presName="dummy4a" presStyleCnt="0"/>
      <dgm:spPr/>
    </dgm:pt>
    <dgm:pt modelId="{B96379F8-82DB-4958-8210-D2088F1A9D03}" type="pres">
      <dgm:prSet presAssocID="{86DF65A6-536D-4440-8703-2DEA9602784D}" presName="dummy4b" presStyleCnt="0"/>
      <dgm:spPr/>
    </dgm:pt>
    <dgm:pt modelId="{4172CE65-1EFA-4341-9788-21E6CFF7EB47}" type="pres">
      <dgm:prSet presAssocID="{86DF65A6-536D-4440-8703-2DEA9602784D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4B67D357-A507-4FF1-9B4D-F8D422A49113}" type="pres">
      <dgm:prSet presAssocID="{86DF65A6-536D-4440-8703-2DEA9602784D}" presName="wedge5" presStyleLbl="node1" presStyleIdx="4" presStyleCnt="6"/>
      <dgm:spPr/>
    </dgm:pt>
    <dgm:pt modelId="{060BD2A5-0332-438E-B732-E12EA6B67027}" type="pres">
      <dgm:prSet presAssocID="{86DF65A6-536D-4440-8703-2DEA9602784D}" presName="dummy5a" presStyleCnt="0"/>
      <dgm:spPr/>
    </dgm:pt>
    <dgm:pt modelId="{56006A4D-CE89-4B05-9C42-0E0780108E0E}" type="pres">
      <dgm:prSet presAssocID="{86DF65A6-536D-4440-8703-2DEA9602784D}" presName="dummy5b" presStyleCnt="0"/>
      <dgm:spPr/>
    </dgm:pt>
    <dgm:pt modelId="{499BA5D5-05D3-49C1-AA9A-C00C5BE89F3A}" type="pres">
      <dgm:prSet presAssocID="{86DF65A6-536D-4440-8703-2DEA9602784D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2162F702-BC0E-4346-96C1-42C43799067C}" type="pres">
      <dgm:prSet presAssocID="{86DF65A6-536D-4440-8703-2DEA9602784D}" presName="wedge6" presStyleLbl="node1" presStyleIdx="5" presStyleCnt="6"/>
      <dgm:spPr/>
    </dgm:pt>
    <dgm:pt modelId="{95C3F4A7-BA68-49EC-A9D9-78824124FA67}" type="pres">
      <dgm:prSet presAssocID="{86DF65A6-536D-4440-8703-2DEA9602784D}" presName="dummy6a" presStyleCnt="0"/>
      <dgm:spPr/>
    </dgm:pt>
    <dgm:pt modelId="{F7572C53-FE05-4BF5-A3A9-FBB6710F17D6}" type="pres">
      <dgm:prSet presAssocID="{86DF65A6-536D-4440-8703-2DEA9602784D}" presName="dummy6b" presStyleCnt="0"/>
      <dgm:spPr/>
    </dgm:pt>
    <dgm:pt modelId="{0FA33581-FA36-45C3-B8D9-DC932B422645}" type="pres">
      <dgm:prSet presAssocID="{86DF65A6-536D-4440-8703-2DEA9602784D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</dgm:pt>
    <dgm:pt modelId="{12BEA31A-1F24-4282-BDBB-46FCB64C7902}" type="pres">
      <dgm:prSet presAssocID="{B3A75138-5B9F-4367-B659-512C9D1501D2}" presName="arrowWedge1" presStyleLbl="fgSibTrans2D1" presStyleIdx="0" presStyleCnt="6"/>
      <dgm:spPr/>
    </dgm:pt>
    <dgm:pt modelId="{4DDCB5DD-AA8E-4C25-A0A9-0E052AAD081C}" type="pres">
      <dgm:prSet presAssocID="{69B66B03-590D-4E53-B4B3-F981CD378B31}" presName="arrowWedge2" presStyleLbl="fgSibTrans2D1" presStyleIdx="1" presStyleCnt="6"/>
      <dgm:spPr/>
    </dgm:pt>
    <dgm:pt modelId="{018A39D1-EFB9-47B0-80D3-4B354C8B67CA}" type="pres">
      <dgm:prSet presAssocID="{FBE07E44-BE15-4BE3-AA93-9A274049F0A2}" presName="arrowWedge3" presStyleLbl="fgSibTrans2D1" presStyleIdx="2" presStyleCnt="6"/>
      <dgm:spPr/>
    </dgm:pt>
    <dgm:pt modelId="{E9BFC52D-3598-45DB-9980-A84575B98602}" type="pres">
      <dgm:prSet presAssocID="{11733CFF-184C-4336-A338-1D637910A896}" presName="arrowWedge4" presStyleLbl="fgSibTrans2D1" presStyleIdx="3" presStyleCnt="6"/>
      <dgm:spPr/>
    </dgm:pt>
    <dgm:pt modelId="{72898D27-11B9-49AB-8538-8857651861C7}" type="pres">
      <dgm:prSet presAssocID="{F38B18FC-8B92-44ED-9B7A-AD2F094DDFA8}" presName="arrowWedge5" presStyleLbl="fgSibTrans2D1" presStyleIdx="4" presStyleCnt="6"/>
      <dgm:spPr/>
    </dgm:pt>
    <dgm:pt modelId="{DB25A690-11ED-4DC7-B01A-C8E999305C03}" type="pres">
      <dgm:prSet presAssocID="{965ED2EE-5996-48D5-A467-0C2DFCDC8919}" presName="arrowWedge6" presStyleLbl="fgSibTrans2D1" presStyleIdx="5" presStyleCnt="6"/>
      <dgm:spPr>
        <a:solidFill>
          <a:srgbClr val="002060"/>
        </a:solidFill>
      </dgm:spPr>
    </dgm:pt>
  </dgm:ptLst>
  <dgm:cxnLst>
    <dgm:cxn modelId="{820B8C03-56AB-4C89-8BC0-DEFCAE7B7552}" type="presOf" srcId="{7DFED2FC-0A94-4FF2-9091-5EDCA05435B4}" destId="{499BA5D5-05D3-49C1-AA9A-C00C5BE89F3A}" srcOrd="1" destOrd="0" presId="urn:microsoft.com/office/officeart/2005/8/layout/cycle8"/>
    <dgm:cxn modelId="{E7E3A72A-A3DF-4911-9817-95633BFD5121}" type="presOf" srcId="{7D74AE90-3258-4EAD-B8B1-56C184FC4EFE}" destId="{C50EC17D-281E-4844-A681-D714EF90B591}" srcOrd="1" destOrd="0" presId="urn:microsoft.com/office/officeart/2005/8/layout/cycle8"/>
    <dgm:cxn modelId="{EFE89935-C6AA-4D60-99C8-B5474BCB0AA2}" srcId="{86DF65A6-536D-4440-8703-2DEA9602784D}" destId="{6AE781F3-47F3-4316-9B9C-D10F31273170}" srcOrd="3" destOrd="0" parTransId="{AC5AF7A1-2310-4F00-863F-F14FBFC359D8}" sibTransId="{11733CFF-184C-4336-A338-1D637910A896}"/>
    <dgm:cxn modelId="{34DEAF35-D08F-48E1-9D5C-2885999E765D}" srcId="{86DF65A6-536D-4440-8703-2DEA9602784D}" destId="{CC726FF1-639A-470B-8DC1-69AA395A5038}" srcOrd="5" destOrd="0" parTransId="{F89C20A6-1975-4F00-AE9D-38DB286DDD16}" sibTransId="{965ED2EE-5996-48D5-A467-0C2DFCDC8919}"/>
    <dgm:cxn modelId="{24C6E13E-31EE-4E3E-A445-79F45230BA41}" type="presOf" srcId="{76FB7765-B54E-4BED-A53F-0948EBCC8BA7}" destId="{6C98348E-7E74-42E3-AA38-932FF8B208DF}" srcOrd="0" destOrd="0" presId="urn:microsoft.com/office/officeart/2005/8/layout/cycle8"/>
    <dgm:cxn modelId="{08E52848-CCE9-4C19-B54A-D7DC8F5B0DE8}" srcId="{86DF65A6-536D-4440-8703-2DEA9602784D}" destId="{2E3CF733-6B42-49E4-9F2F-6CE2287E93CF}" srcOrd="1" destOrd="0" parTransId="{2EFCAA40-A44D-4C0A-9567-3C4CFCA075AE}" sibTransId="{69B66B03-590D-4E53-B4B3-F981CD378B31}"/>
    <dgm:cxn modelId="{4C8C686C-BE8F-42B2-BF23-90E1FE4469FB}" type="presOf" srcId="{7DFED2FC-0A94-4FF2-9091-5EDCA05435B4}" destId="{4B67D357-A507-4FF1-9B4D-F8D422A49113}" srcOrd="0" destOrd="0" presId="urn:microsoft.com/office/officeart/2005/8/layout/cycle8"/>
    <dgm:cxn modelId="{3BCABD4D-67FB-457F-ADFD-4842C65FF36E}" type="presOf" srcId="{76FB7765-B54E-4BED-A53F-0948EBCC8BA7}" destId="{8EB76261-CCB6-4310-B8A4-81E4216C43BD}" srcOrd="1" destOrd="0" presId="urn:microsoft.com/office/officeart/2005/8/layout/cycle8"/>
    <dgm:cxn modelId="{77348581-BD9F-4E73-980A-D43D58F87CE5}" type="presOf" srcId="{2E3CF733-6B42-49E4-9F2F-6CE2287E93CF}" destId="{79D5725B-BBD2-4E2D-8C29-CED46E869FFE}" srcOrd="1" destOrd="0" presId="urn:microsoft.com/office/officeart/2005/8/layout/cycle8"/>
    <dgm:cxn modelId="{9E958193-FA82-478B-B27C-DC215FC2E571}" srcId="{86DF65A6-536D-4440-8703-2DEA9602784D}" destId="{76FB7765-B54E-4BED-A53F-0948EBCC8BA7}" srcOrd="0" destOrd="0" parTransId="{A995C893-3909-4805-AF23-A9E3ABF65933}" sibTransId="{B3A75138-5B9F-4367-B659-512C9D1501D2}"/>
    <dgm:cxn modelId="{529AA2A0-6221-4EFB-A8B8-4876041D3057}" type="presOf" srcId="{6AE781F3-47F3-4316-9B9C-D10F31273170}" destId="{4172CE65-1EFA-4341-9788-21E6CFF7EB47}" srcOrd="1" destOrd="0" presId="urn:microsoft.com/office/officeart/2005/8/layout/cycle8"/>
    <dgm:cxn modelId="{AA0361B3-4E51-4308-AB0A-80EDE51E24E7}" srcId="{86DF65A6-536D-4440-8703-2DEA9602784D}" destId="{7DFED2FC-0A94-4FF2-9091-5EDCA05435B4}" srcOrd="4" destOrd="0" parTransId="{94C8905D-65BF-4CCB-849C-95B2534E7741}" sibTransId="{F38B18FC-8B92-44ED-9B7A-AD2F094DDFA8}"/>
    <dgm:cxn modelId="{34CA96B8-C3B0-403F-81CB-7FFB34A7CC3C}" type="presOf" srcId="{CC726FF1-639A-470B-8DC1-69AA395A5038}" destId="{0FA33581-FA36-45C3-B8D9-DC932B422645}" srcOrd="1" destOrd="0" presId="urn:microsoft.com/office/officeart/2005/8/layout/cycle8"/>
    <dgm:cxn modelId="{818BCBB9-ACB9-427C-84C2-268AE78F0AFB}" srcId="{86DF65A6-536D-4440-8703-2DEA9602784D}" destId="{7D74AE90-3258-4EAD-B8B1-56C184FC4EFE}" srcOrd="2" destOrd="0" parTransId="{E0250668-E32C-4784-9F16-FAF28C0EC7F4}" sibTransId="{FBE07E44-BE15-4BE3-AA93-9A274049F0A2}"/>
    <dgm:cxn modelId="{281248C3-E1B6-41FB-8EA6-A875D01D1934}" type="presOf" srcId="{6AE781F3-47F3-4316-9B9C-D10F31273170}" destId="{B7FC8175-B9CB-454F-9E9A-08E9BCB17A24}" srcOrd="0" destOrd="0" presId="urn:microsoft.com/office/officeart/2005/8/layout/cycle8"/>
    <dgm:cxn modelId="{380770D4-151B-4EE2-81C0-FBD81F0CC2D8}" type="presOf" srcId="{2E3CF733-6B42-49E4-9F2F-6CE2287E93CF}" destId="{D041962A-6C9F-4BB4-91E4-4229B9AFB299}" srcOrd="0" destOrd="0" presId="urn:microsoft.com/office/officeart/2005/8/layout/cycle8"/>
    <dgm:cxn modelId="{84908FDB-6DA8-4242-BD9E-6F0DE5C187FA}" type="presOf" srcId="{CC726FF1-639A-470B-8DC1-69AA395A5038}" destId="{2162F702-BC0E-4346-96C1-42C43799067C}" srcOrd="0" destOrd="0" presId="urn:microsoft.com/office/officeart/2005/8/layout/cycle8"/>
    <dgm:cxn modelId="{70CC2BEC-9F0A-4E42-B763-97269677C9C9}" type="presOf" srcId="{86DF65A6-536D-4440-8703-2DEA9602784D}" destId="{477ACA93-CCF9-41FF-B0DA-020140E73E36}" srcOrd="0" destOrd="0" presId="urn:microsoft.com/office/officeart/2005/8/layout/cycle8"/>
    <dgm:cxn modelId="{E30BD2F4-C983-48A5-84C3-1C1070156958}" type="presOf" srcId="{7D74AE90-3258-4EAD-B8B1-56C184FC4EFE}" destId="{6CD9B6C5-DB28-4129-B9C2-714241D5ADD0}" srcOrd="0" destOrd="0" presId="urn:microsoft.com/office/officeart/2005/8/layout/cycle8"/>
    <dgm:cxn modelId="{84B1447C-EA3B-47A7-A169-F0B7DB1E40CB}" type="presParOf" srcId="{477ACA93-CCF9-41FF-B0DA-020140E73E36}" destId="{6C98348E-7E74-42E3-AA38-932FF8B208DF}" srcOrd="0" destOrd="0" presId="urn:microsoft.com/office/officeart/2005/8/layout/cycle8"/>
    <dgm:cxn modelId="{D7CF72DB-1AE5-4246-9A1A-5BD201753B71}" type="presParOf" srcId="{477ACA93-CCF9-41FF-B0DA-020140E73E36}" destId="{A76872FF-8759-4DB4-BD0E-9E351FD52DED}" srcOrd="1" destOrd="0" presId="urn:microsoft.com/office/officeart/2005/8/layout/cycle8"/>
    <dgm:cxn modelId="{FEAC145C-02EE-481F-BEF0-2DD3E086A784}" type="presParOf" srcId="{477ACA93-CCF9-41FF-B0DA-020140E73E36}" destId="{9C5D09B1-64C3-4620-9B78-A5116B426DB5}" srcOrd="2" destOrd="0" presId="urn:microsoft.com/office/officeart/2005/8/layout/cycle8"/>
    <dgm:cxn modelId="{C35082CD-8676-4537-9DDF-CB2C1A3AAD90}" type="presParOf" srcId="{477ACA93-CCF9-41FF-B0DA-020140E73E36}" destId="{8EB76261-CCB6-4310-B8A4-81E4216C43BD}" srcOrd="3" destOrd="0" presId="urn:microsoft.com/office/officeart/2005/8/layout/cycle8"/>
    <dgm:cxn modelId="{CBD655BC-FBB9-43D1-A2BF-275F9D03A310}" type="presParOf" srcId="{477ACA93-CCF9-41FF-B0DA-020140E73E36}" destId="{D041962A-6C9F-4BB4-91E4-4229B9AFB299}" srcOrd="4" destOrd="0" presId="urn:microsoft.com/office/officeart/2005/8/layout/cycle8"/>
    <dgm:cxn modelId="{56288186-6E20-4C97-AE86-3657E255D165}" type="presParOf" srcId="{477ACA93-CCF9-41FF-B0DA-020140E73E36}" destId="{B7EFD7C6-374D-4119-8838-7F676BD8EBAA}" srcOrd="5" destOrd="0" presId="urn:microsoft.com/office/officeart/2005/8/layout/cycle8"/>
    <dgm:cxn modelId="{9F6ED78A-71C9-444E-90CE-2BFDC98BB12A}" type="presParOf" srcId="{477ACA93-CCF9-41FF-B0DA-020140E73E36}" destId="{B432ADFE-425E-4705-ABA0-B4CB8886C52A}" srcOrd="6" destOrd="0" presId="urn:microsoft.com/office/officeart/2005/8/layout/cycle8"/>
    <dgm:cxn modelId="{C6DCC68B-9DFD-47DA-8FAD-16C5E8383811}" type="presParOf" srcId="{477ACA93-CCF9-41FF-B0DA-020140E73E36}" destId="{79D5725B-BBD2-4E2D-8C29-CED46E869FFE}" srcOrd="7" destOrd="0" presId="urn:microsoft.com/office/officeart/2005/8/layout/cycle8"/>
    <dgm:cxn modelId="{59BB6128-4F39-49B8-BCF0-B7266831C07C}" type="presParOf" srcId="{477ACA93-CCF9-41FF-B0DA-020140E73E36}" destId="{6CD9B6C5-DB28-4129-B9C2-714241D5ADD0}" srcOrd="8" destOrd="0" presId="urn:microsoft.com/office/officeart/2005/8/layout/cycle8"/>
    <dgm:cxn modelId="{87DAEB82-49CA-4D63-9717-1B865986AA2C}" type="presParOf" srcId="{477ACA93-CCF9-41FF-B0DA-020140E73E36}" destId="{EC94C5E8-E21E-42A7-87DA-7ABAD94104E0}" srcOrd="9" destOrd="0" presId="urn:microsoft.com/office/officeart/2005/8/layout/cycle8"/>
    <dgm:cxn modelId="{07F7023C-5480-4B1D-893F-1FD443D01C09}" type="presParOf" srcId="{477ACA93-CCF9-41FF-B0DA-020140E73E36}" destId="{E8DBEBAC-DD85-40A5-9F6F-E4FCF3097047}" srcOrd="10" destOrd="0" presId="urn:microsoft.com/office/officeart/2005/8/layout/cycle8"/>
    <dgm:cxn modelId="{19CB04DF-DF09-48E3-8212-549ADD13C1DB}" type="presParOf" srcId="{477ACA93-CCF9-41FF-B0DA-020140E73E36}" destId="{C50EC17D-281E-4844-A681-D714EF90B591}" srcOrd="11" destOrd="0" presId="urn:microsoft.com/office/officeart/2005/8/layout/cycle8"/>
    <dgm:cxn modelId="{B0D37521-CEC9-4BC5-AA7A-EF8245632EA6}" type="presParOf" srcId="{477ACA93-CCF9-41FF-B0DA-020140E73E36}" destId="{B7FC8175-B9CB-454F-9E9A-08E9BCB17A24}" srcOrd="12" destOrd="0" presId="urn:microsoft.com/office/officeart/2005/8/layout/cycle8"/>
    <dgm:cxn modelId="{CD38B5D5-743D-42A7-B930-EF5ACE4A1752}" type="presParOf" srcId="{477ACA93-CCF9-41FF-B0DA-020140E73E36}" destId="{A3895D34-9FD5-4709-A0E2-FAD15D42338D}" srcOrd="13" destOrd="0" presId="urn:microsoft.com/office/officeart/2005/8/layout/cycle8"/>
    <dgm:cxn modelId="{DA08F0A1-D8B2-481A-B1D4-978D102D959A}" type="presParOf" srcId="{477ACA93-CCF9-41FF-B0DA-020140E73E36}" destId="{B96379F8-82DB-4958-8210-D2088F1A9D03}" srcOrd="14" destOrd="0" presId="urn:microsoft.com/office/officeart/2005/8/layout/cycle8"/>
    <dgm:cxn modelId="{44F95CF8-CD37-445F-A7DC-F4A4DAC60DCE}" type="presParOf" srcId="{477ACA93-CCF9-41FF-B0DA-020140E73E36}" destId="{4172CE65-1EFA-4341-9788-21E6CFF7EB47}" srcOrd="15" destOrd="0" presId="urn:microsoft.com/office/officeart/2005/8/layout/cycle8"/>
    <dgm:cxn modelId="{DBAA9160-3503-46B6-B389-B86D0CEB62E1}" type="presParOf" srcId="{477ACA93-CCF9-41FF-B0DA-020140E73E36}" destId="{4B67D357-A507-4FF1-9B4D-F8D422A49113}" srcOrd="16" destOrd="0" presId="urn:microsoft.com/office/officeart/2005/8/layout/cycle8"/>
    <dgm:cxn modelId="{F4907771-53D4-4511-B37E-DEEE2BE11BB1}" type="presParOf" srcId="{477ACA93-CCF9-41FF-B0DA-020140E73E36}" destId="{060BD2A5-0332-438E-B732-E12EA6B67027}" srcOrd="17" destOrd="0" presId="urn:microsoft.com/office/officeart/2005/8/layout/cycle8"/>
    <dgm:cxn modelId="{69C30898-4C90-4453-970D-7DC414CF40C8}" type="presParOf" srcId="{477ACA93-CCF9-41FF-B0DA-020140E73E36}" destId="{56006A4D-CE89-4B05-9C42-0E0780108E0E}" srcOrd="18" destOrd="0" presId="urn:microsoft.com/office/officeart/2005/8/layout/cycle8"/>
    <dgm:cxn modelId="{5CBAAA2D-0E25-44AA-AC2A-BDB551E35EF1}" type="presParOf" srcId="{477ACA93-CCF9-41FF-B0DA-020140E73E36}" destId="{499BA5D5-05D3-49C1-AA9A-C00C5BE89F3A}" srcOrd="19" destOrd="0" presId="urn:microsoft.com/office/officeart/2005/8/layout/cycle8"/>
    <dgm:cxn modelId="{C32A9957-0188-4700-AF87-1586C98FD6CC}" type="presParOf" srcId="{477ACA93-CCF9-41FF-B0DA-020140E73E36}" destId="{2162F702-BC0E-4346-96C1-42C43799067C}" srcOrd="20" destOrd="0" presId="urn:microsoft.com/office/officeart/2005/8/layout/cycle8"/>
    <dgm:cxn modelId="{2CE89DEA-B166-4D28-845F-6A61DBE40F43}" type="presParOf" srcId="{477ACA93-CCF9-41FF-B0DA-020140E73E36}" destId="{95C3F4A7-BA68-49EC-A9D9-78824124FA67}" srcOrd="21" destOrd="0" presId="urn:microsoft.com/office/officeart/2005/8/layout/cycle8"/>
    <dgm:cxn modelId="{7832E761-33C5-492E-81FD-D5E0E410A9B0}" type="presParOf" srcId="{477ACA93-CCF9-41FF-B0DA-020140E73E36}" destId="{F7572C53-FE05-4BF5-A3A9-FBB6710F17D6}" srcOrd="22" destOrd="0" presId="urn:microsoft.com/office/officeart/2005/8/layout/cycle8"/>
    <dgm:cxn modelId="{5D5E03D1-E34F-49B5-8A6F-837F3DB5684F}" type="presParOf" srcId="{477ACA93-CCF9-41FF-B0DA-020140E73E36}" destId="{0FA33581-FA36-45C3-B8D9-DC932B422645}" srcOrd="23" destOrd="0" presId="urn:microsoft.com/office/officeart/2005/8/layout/cycle8"/>
    <dgm:cxn modelId="{E2313A9C-6E0E-4A24-B9B2-DE0DB3962D46}" type="presParOf" srcId="{477ACA93-CCF9-41FF-B0DA-020140E73E36}" destId="{12BEA31A-1F24-4282-BDBB-46FCB64C7902}" srcOrd="24" destOrd="0" presId="urn:microsoft.com/office/officeart/2005/8/layout/cycle8"/>
    <dgm:cxn modelId="{0DB498B3-553F-48E0-9C52-67E5AE077B68}" type="presParOf" srcId="{477ACA93-CCF9-41FF-B0DA-020140E73E36}" destId="{4DDCB5DD-AA8E-4C25-A0A9-0E052AAD081C}" srcOrd="25" destOrd="0" presId="urn:microsoft.com/office/officeart/2005/8/layout/cycle8"/>
    <dgm:cxn modelId="{65C300B1-0289-4B3E-A158-9EA54639B3BA}" type="presParOf" srcId="{477ACA93-CCF9-41FF-B0DA-020140E73E36}" destId="{018A39D1-EFB9-47B0-80D3-4B354C8B67CA}" srcOrd="26" destOrd="0" presId="urn:microsoft.com/office/officeart/2005/8/layout/cycle8"/>
    <dgm:cxn modelId="{9242A7B8-EF97-4660-A9FA-92D070E18A0B}" type="presParOf" srcId="{477ACA93-CCF9-41FF-B0DA-020140E73E36}" destId="{E9BFC52D-3598-45DB-9980-A84575B98602}" srcOrd="27" destOrd="0" presId="urn:microsoft.com/office/officeart/2005/8/layout/cycle8"/>
    <dgm:cxn modelId="{F27B6BAC-20F1-4A1E-A7D5-9E96A2216245}" type="presParOf" srcId="{477ACA93-CCF9-41FF-B0DA-020140E73E36}" destId="{72898D27-11B9-49AB-8538-8857651861C7}" srcOrd="28" destOrd="0" presId="urn:microsoft.com/office/officeart/2005/8/layout/cycle8"/>
    <dgm:cxn modelId="{5134CC7C-A93D-4C91-BD2A-8831790A90E1}" type="presParOf" srcId="{477ACA93-CCF9-41FF-B0DA-020140E73E36}" destId="{DB25A690-11ED-4DC7-B01A-C8E999305C03}" srcOrd="2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756B60-C091-4EEA-8A29-33BF8B4CCA8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96C670D-0DBF-4B57-BDD8-AED965F86180}">
      <dgm:prSet phldrT="[Texto]"/>
      <dgm:spPr/>
      <dgm:t>
        <a:bodyPr/>
        <a:lstStyle/>
        <a:p>
          <a:r>
            <a:rPr lang="pt-BR" dirty="0"/>
            <a:t>Identificar</a:t>
          </a:r>
        </a:p>
      </dgm:t>
    </dgm:pt>
    <dgm:pt modelId="{DF751565-DFCD-4B7B-A1AD-785AAC9A3D41}" type="parTrans" cxnId="{D70E80CE-1C06-4E86-92E0-5BFCCD3FAD06}">
      <dgm:prSet/>
      <dgm:spPr/>
      <dgm:t>
        <a:bodyPr/>
        <a:lstStyle/>
        <a:p>
          <a:endParaRPr lang="pt-BR"/>
        </a:p>
      </dgm:t>
    </dgm:pt>
    <dgm:pt modelId="{38E96B2B-6BE9-43B2-A243-F84EBCCA444E}" type="sibTrans" cxnId="{D70E80CE-1C06-4E86-92E0-5BFCCD3FAD06}">
      <dgm:prSet/>
      <dgm:spPr/>
      <dgm:t>
        <a:bodyPr/>
        <a:lstStyle/>
        <a:p>
          <a:endParaRPr lang="pt-BR"/>
        </a:p>
      </dgm:t>
    </dgm:pt>
    <dgm:pt modelId="{1864D870-7FA9-4AF3-8765-E00CDC3DFE79}">
      <dgm:prSet phldrT="[Texto]"/>
      <dgm:spPr/>
      <dgm:t>
        <a:bodyPr/>
        <a:lstStyle/>
        <a:p>
          <a:r>
            <a:rPr lang="pt-BR" dirty="0"/>
            <a:t>Compreender</a:t>
          </a:r>
        </a:p>
      </dgm:t>
    </dgm:pt>
    <dgm:pt modelId="{1AD164A0-E57E-4D5C-9473-467A791C7132}" type="parTrans" cxnId="{73B872DD-0F54-45E5-82F3-718515BFD9EC}">
      <dgm:prSet/>
      <dgm:spPr/>
      <dgm:t>
        <a:bodyPr/>
        <a:lstStyle/>
        <a:p>
          <a:endParaRPr lang="pt-BR"/>
        </a:p>
      </dgm:t>
    </dgm:pt>
    <dgm:pt modelId="{C29C5DBF-9514-4507-B859-45E0BB52B12C}" type="sibTrans" cxnId="{73B872DD-0F54-45E5-82F3-718515BFD9EC}">
      <dgm:prSet/>
      <dgm:spPr/>
      <dgm:t>
        <a:bodyPr/>
        <a:lstStyle/>
        <a:p>
          <a:endParaRPr lang="pt-BR"/>
        </a:p>
      </dgm:t>
    </dgm:pt>
    <dgm:pt modelId="{BDE6E07D-E420-42F2-A68A-B41C699176C7}">
      <dgm:prSet phldrT="[Texto]"/>
      <dgm:spPr/>
      <dgm:t>
        <a:bodyPr/>
        <a:lstStyle/>
        <a:p>
          <a:r>
            <a:rPr lang="pt-BR" dirty="0"/>
            <a:t>Analisar</a:t>
          </a:r>
        </a:p>
      </dgm:t>
    </dgm:pt>
    <dgm:pt modelId="{C5071F47-4205-45FE-81A1-39E19315E053}" type="parTrans" cxnId="{7AB09483-3ED5-4C65-BA87-840D1C23AEB3}">
      <dgm:prSet/>
      <dgm:spPr/>
      <dgm:t>
        <a:bodyPr/>
        <a:lstStyle/>
        <a:p>
          <a:endParaRPr lang="pt-BR"/>
        </a:p>
      </dgm:t>
    </dgm:pt>
    <dgm:pt modelId="{1EF1C8ED-55A2-4C4C-821C-0D42B519C945}" type="sibTrans" cxnId="{7AB09483-3ED5-4C65-BA87-840D1C23AEB3}">
      <dgm:prSet/>
      <dgm:spPr/>
      <dgm:t>
        <a:bodyPr/>
        <a:lstStyle/>
        <a:p>
          <a:endParaRPr lang="pt-BR"/>
        </a:p>
      </dgm:t>
    </dgm:pt>
    <dgm:pt modelId="{B33FDAE6-A3EC-48B8-8A2F-849C4C66B876}">
      <dgm:prSet phldrT="[Texto]"/>
      <dgm:spPr/>
      <dgm:t>
        <a:bodyPr/>
        <a:lstStyle/>
        <a:p>
          <a:r>
            <a:rPr lang="pt-BR" dirty="0"/>
            <a:t>Priorizar</a:t>
          </a:r>
        </a:p>
      </dgm:t>
    </dgm:pt>
    <dgm:pt modelId="{3624C00D-9A75-4813-8D10-AB791BBAE68E}" type="parTrans" cxnId="{96D54B7B-D502-4A07-8F3A-F9BD81834A1F}">
      <dgm:prSet/>
      <dgm:spPr/>
      <dgm:t>
        <a:bodyPr/>
        <a:lstStyle/>
        <a:p>
          <a:endParaRPr lang="pt-BR"/>
        </a:p>
      </dgm:t>
    </dgm:pt>
    <dgm:pt modelId="{2E62D717-9D11-4266-8B49-C49E3BF55155}" type="sibTrans" cxnId="{96D54B7B-D502-4A07-8F3A-F9BD81834A1F}">
      <dgm:prSet/>
      <dgm:spPr/>
      <dgm:t>
        <a:bodyPr/>
        <a:lstStyle/>
        <a:p>
          <a:endParaRPr lang="pt-BR"/>
        </a:p>
      </dgm:t>
    </dgm:pt>
    <dgm:pt modelId="{F3937AFC-0B2E-4E67-A6E3-165016AE3115}">
      <dgm:prSet phldrT="[Texto]"/>
      <dgm:spPr/>
      <dgm:t>
        <a:bodyPr/>
        <a:lstStyle/>
        <a:p>
          <a:r>
            <a:rPr lang="pt-BR" dirty="0"/>
            <a:t>Engajar</a:t>
          </a:r>
        </a:p>
      </dgm:t>
    </dgm:pt>
    <dgm:pt modelId="{65202BAE-5887-46CF-AAFA-66832002CF38}" type="parTrans" cxnId="{FEF362FE-72F0-47EC-B067-3CA79F64122C}">
      <dgm:prSet/>
      <dgm:spPr/>
      <dgm:t>
        <a:bodyPr/>
        <a:lstStyle/>
        <a:p>
          <a:endParaRPr lang="pt-BR"/>
        </a:p>
      </dgm:t>
    </dgm:pt>
    <dgm:pt modelId="{6DDE3501-B740-425A-A657-ED315E9BD406}" type="sibTrans" cxnId="{FEF362FE-72F0-47EC-B067-3CA79F64122C}">
      <dgm:prSet/>
      <dgm:spPr/>
      <dgm:t>
        <a:bodyPr/>
        <a:lstStyle/>
        <a:p>
          <a:endParaRPr lang="pt-BR"/>
        </a:p>
      </dgm:t>
    </dgm:pt>
    <dgm:pt modelId="{376C4141-88B0-40E5-BAED-90F27BE3C049}">
      <dgm:prSet phldrT="[Texto]"/>
      <dgm:spPr/>
      <dgm:t>
        <a:bodyPr/>
        <a:lstStyle/>
        <a:p>
          <a:r>
            <a:rPr lang="pt-BR" dirty="0"/>
            <a:t>Monitorar</a:t>
          </a:r>
        </a:p>
      </dgm:t>
    </dgm:pt>
    <dgm:pt modelId="{3C9AC9F9-E1DD-4D3A-907C-22E7F0C7D461}" type="parTrans" cxnId="{37961B74-7DD0-4A3F-B318-1D770FC6EE5D}">
      <dgm:prSet/>
      <dgm:spPr/>
      <dgm:t>
        <a:bodyPr/>
        <a:lstStyle/>
        <a:p>
          <a:endParaRPr lang="pt-BR"/>
        </a:p>
      </dgm:t>
    </dgm:pt>
    <dgm:pt modelId="{02FBED2D-0AB8-4DEB-ADF4-3324C756F2A9}" type="sibTrans" cxnId="{37961B74-7DD0-4A3F-B318-1D770FC6EE5D}">
      <dgm:prSet/>
      <dgm:spPr/>
      <dgm:t>
        <a:bodyPr/>
        <a:lstStyle/>
        <a:p>
          <a:endParaRPr lang="pt-BR"/>
        </a:p>
      </dgm:t>
    </dgm:pt>
    <dgm:pt modelId="{B14D47E0-ABD4-4AB8-A968-8834C69B411B}" type="pres">
      <dgm:prSet presAssocID="{D4756B60-C091-4EEA-8A29-33BF8B4CCA81}" presName="Name0" presStyleCnt="0">
        <dgm:presLayoutVars>
          <dgm:dir/>
          <dgm:resizeHandles val="exact"/>
        </dgm:presLayoutVars>
      </dgm:prSet>
      <dgm:spPr/>
    </dgm:pt>
    <dgm:pt modelId="{FB670C97-3C24-417E-8B51-138CB649F42B}" type="pres">
      <dgm:prSet presAssocID="{D4756B60-C091-4EEA-8A29-33BF8B4CCA81}" presName="cycle" presStyleCnt="0"/>
      <dgm:spPr/>
    </dgm:pt>
    <dgm:pt modelId="{56834044-6A5E-4D90-A977-D77C3F1E9DF2}" type="pres">
      <dgm:prSet presAssocID="{B96C670D-0DBF-4B57-BDD8-AED965F86180}" presName="nodeFirstNode" presStyleLbl="node1" presStyleIdx="0" presStyleCnt="6">
        <dgm:presLayoutVars>
          <dgm:bulletEnabled val="1"/>
        </dgm:presLayoutVars>
      </dgm:prSet>
      <dgm:spPr/>
    </dgm:pt>
    <dgm:pt modelId="{F638F529-2313-4D6E-9781-0FCC9974DAF7}" type="pres">
      <dgm:prSet presAssocID="{38E96B2B-6BE9-43B2-A243-F84EBCCA444E}" presName="sibTransFirstNode" presStyleLbl="bgShp" presStyleIdx="0" presStyleCnt="1"/>
      <dgm:spPr/>
    </dgm:pt>
    <dgm:pt modelId="{AD1C9900-8BA3-4698-9967-B642C7AA2290}" type="pres">
      <dgm:prSet presAssocID="{1864D870-7FA9-4AF3-8765-E00CDC3DFE79}" presName="nodeFollowingNodes" presStyleLbl="node1" presStyleIdx="1" presStyleCnt="6">
        <dgm:presLayoutVars>
          <dgm:bulletEnabled val="1"/>
        </dgm:presLayoutVars>
      </dgm:prSet>
      <dgm:spPr/>
    </dgm:pt>
    <dgm:pt modelId="{87413F22-4D02-4BF1-A029-172ACC5C5B45}" type="pres">
      <dgm:prSet presAssocID="{BDE6E07D-E420-42F2-A68A-B41C699176C7}" presName="nodeFollowingNodes" presStyleLbl="node1" presStyleIdx="2" presStyleCnt="6">
        <dgm:presLayoutVars>
          <dgm:bulletEnabled val="1"/>
        </dgm:presLayoutVars>
      </dgm:prSet>
      <dgm:spPr/>
    </dgm:pt>
    <dgm:pt modelId="{1AEC6531-E992-4CBF-81E9-EDA4891F4065}" type="pres">
      <dgm:prSet presAssocID="{B33FDAE6-A3EC-48B8-8A2F-849C4C66B876}" presName="nodeFollowingNodes" presStyleLbl="node1" presStyleIdx="3" presStyleCnt="6">
        <dgm:presLayoutVars>
          <dgm:bulletEnabled val="1"/>
        </dgm:presLayoutVars>
      </dgm:prSet>
      <dgm:spPr/>
    </dgm:pt>
    <dgm:pt modelId="{8DFF09B3-0615-4AD5-8ECE-0FA969E0AEA5}" type="pres">
      <dgm:prSet presAssocID="{F3937AFC-0B2E-4E67-A6E3-165016AE3115}" presName="nodeFollowingNodes" presStyleLbl="node1" presStyleIdx="4" presStyleCnt="6">
        <dgm:presLayoutVars>
          <dgm:bulletEnabled val="1"/>
        </dgm:presLayoutVars>
      </dgm:prSet>
      <dgm:spPr/>
    </dgm:pt>
    <dgm:pt modelId="{15125FDB-208E-411D-AE47-0341E9218783}" type="pres">
      <dgm:prSet presAssocID="{376C4141-88B0-40E5-BAED-90F27BE3C049}" presName="nodeFollowingNodes" presStyleLbl="node1" presStyleIdx="5" presStyleCnt="6">
        <dgm:presLayoutVars>
          <dgm:bulletEnabled val="1"/>
        </dgm:presLayoutVars>
      </dgm:prSet>
      <dgm:spPr/>
    </dgm:pt>
  </dgm:ptLst>
  <dgm:cxnLst>
    <dgm:cxn modelId="{A9244D04-2E98-4F64-AC7A-84949E806766}" type="presOf" srcId="{B96C670D-0DBF-4B57-BDD8-AED965F86180}" destId="{56834044-6A5E-4D90-A977-D77C3F1E9DF2}" srcOrd="0" destOrd="0" presId="urn:microsoft.com/office/officeart/2005/8/layout/cycle3"/>
    <dgm:cxn modelId="{F2ADB00C-ABD7-4E36-A817-1F264BC78428}" type="presOf" srcId="{376C4141-88B0-40E5-BAED-90F27BE3C049}" destId="{15125FDB-208E-411D-AE47-0341E9218783}" srcOrd="0" destOrd="0" presId="urn:microsoft.com/office/officeart/2005/8/layout/cycle3"/>
    <dgm:cxn modelId="{FDBA3310-EA4C-4B1B-8043-83688287634E}" type="presOf" srcId="{F3937AFC-0B2E-4E67-A6E3-165016AE3115}" destId="{8DFF09B3-0615-4AD5-8ECE-0FA969E0AEA5}" srcOrd="0" destOrd="0" presId="urn:microsoft.com/office/officeart/2005/8/layout/cycle3"/>
    <dgm:cxn modelId="{385BA231-C48D-49BC-AD21-5FCE462A80B3}" type="presOf" srcId="{D4756B60-C091-4EEA-8A29-33BF8B4CCA81}" destId="{B14D47E0-ABD4-4AB8-A968-8834C69B411B}" srcOrd="0" destOrd="0" presId="urn:microsoft.com/office/officeart/2005/8/layout/cycle3"/>
    <dgm:cxn modelId="{16F94969-4DBF-4ACA-8929-28AED13F6A8F}" type="presOf" srcId="{B33FDAE6-A3EC-48B8-8A2F-849C4C66B876}" destId="{1AEC6531-E992-4CBF-81E9-EDA4891F4065}" srcOrd="0" destOrd="0" presId="urn:microsoft.com/office/officeart/2005/8/layout/cycle3"/>
    <dgm:cxn modelId="{37961B74-7DD0-4A3F-B318-1D770FC6EE5D}" srcId="{D4756B60-C091-4EEA-8A29-33BF8B4CCA81}" destId="{376C4141-88B0-40E5-BAED-90F27BE3C049}" srcOrd="5" destOrd="0" parTransId="{3C9AC9F9-E1DD-4D3A-907C-22E7F0C7D461}" sibTransId="{02FBED2D-0AB8-4DEB-ADF4-3324C756F2A9}"/>
    <dgm:cxn modelId="{96D54B7B-D502-4A07-8F3A-F9BD81834A1F}" srcId="{D4756B60-C091-4EEA-8A29-33BF8B4CCA81}" destId="{B33FDAE6-A3EC-48B8-8A2F-849C4C66B876}" srcOrd="3" destOrd="0" parTransId="{3624C00D-9A75-4813-8D10-AB791BBAE68E}" sibTransId="{2E62D717-9D11-4266-8B49-C49E3BF55155}"/>
    <dgm:cxn modelId="{F3D4947E-D4F7-4DAD-B9F0-467388184DEB}" type="presOf" srcId="{BDE6E07D-E420-42F2-A68A-B41C699176C7}" destId="{87413F22-4D02-4BF1-A029-172ACC5C5B45}" srcOrd="0" destOrd="0" presId="urn:microsoft.com/office/officeart/2005/8/layout/cycle3"/>
    <dgm:cxn modelId="{7AB09483-3ED5-4C65-BA87-840D1C23AEB3}" srcId="{D4756B60-C091-4EEA-8A29-33BF8B4CCA81}" destId="{BDE6E07D-E420-42F2-A68A-B41C699176C7}" srcOrd="2" destOrd="0" parTransId="{C5071F47-4205-45FE-81A1-39E19315E053}" sibTransId="{1EF1C8ED-55A2-4C4C-821C-0D42B519C945}"/>
    <dgm:cxn modelId="{22D98AA4-64E6-488D-AFFC-D94C59646D7B}" type="presOf" srcId="{1864D870-7FA9-4AF3-8765-E00CDC3DFE79}" destId="{AD1C9900-8BA3-4698-9967-B642C7AA2290}" srcOrd="0" destOrd="0" presId="urn:microsoft.com/office/officeart/2005/8/layout/cycle3"/>
    <dgm:cxn modelId="{D70E80CE-1C06-4E86-92E0-5BFCCD3FAD06}" srcId="{D4756B60-C091-4EEA-8A29-33BF8B4CCA81}" destId="{B96C670D-0DBF-4B57-BDD8-AED965F86180}" srcOrd="0" destOrd="0" parTransId="{DF751565-DFCD-4B7B-A1AD-785AAC9A3D41}" sibTransId="{38E96B2B-6BE9-43B2-A243-F84EBCCA444E}"/>
    <dgm:cxn modelId="{73B872DD-0F54-45E5-82F3-718515BFD9EC}" srcId="{D4756B60-C091-4EEA-8A29-33BF8B4CCA81}" destId="{1864D870-7FA9-4AF3-8765-E00CDC3DFE79}" srcOrd="1" destOrd="0" parTransId="{1AD164A0-E57E-4D5C-9473-467A791C7132}" sibTransId="{C29C5DBF-9514-4507-B859-45E0BB52B12C}"/>
    <dgm:cxn modelId="{80C842E3-2C53-469D-A2B4-C9AE660152A3}" type="presOf" srcId="{38E96B2B-6BE9-43B2-A243-F84EBCCA444E}" destId="{F638F529-2313-4D6E-9781-0FCC9974DAF7}" srcOrd="0" destOrd="0" presId="urn:microsoft.com/office/officeart/2005/8/layout/cycle3"/>
    <dgm:cxn modelId="{FEF362FE-72F0-47EC-B067-3CA79F64122C}" srcId="{D4756B60-C091-4EEA-8A29-33BF8B4CCA81}" destId="{F3937AFC-0B2E-4E67-A6E3-165016AE3115}" srcOrd="4" destOrd="0" parTransId="{65202BAE-5887-46CF-AAFA-66832002CF38}" sibTransId="{6DDE3501-B740-425A-A657-ED315E9BD406}"/>
    <dgm:cxn modelId="{B1511480-CB04-4EFA-83C1-652A3EFBAB7C}" type="presParOf" srcId="{B14D47E0-ABD4-4AB8-A968-8834C69B411B}" destId="{FB670C97-3C24-417E-8B51-138CB649F42B}" srcOrd="0" destOrd="0" presId="urn:microsoft.com/office/officeart/2005/8/layout/cycle3"/>
    <dgm:cxn modelId="{600E6280-15DE-472F-BAC2-98B95D72C651}" type="presParOf" srcId="{FB670C97-3C24-417E-8B51-138CB649F42B}" destId="{56834044-6A5E-4D90-A977-D77C3F1E9DF2}" srcOrd="0" destOrd="0" presId="urn:microsoft.com/office/officeart/2005/8/layout/cycle3"/>
    <dgm:cxn modelId="{AB174475-C227-41F4-A1B3-E5E9F4E34F87}" type="presParOf" srcId="{FB670C97-3C24-417E-8B51-138CB649F42B}" destId="{F638F529-2313-4D6E-9781-0FCC9974DAF7}" srcOrd="1" destOrd="0" presId="urn:microsoft.com/office/officeart/2005/8/layout/cycle3"/>
    <dgm:cxn modelId="{0F8B5BC4-75F0-4F24-89D0-D4BCF2A1095B}" type="presParOf" srcId="{FB670C97-3C24-417E-8B51-138CB649F42B}" destId="{AD1C9900-8BA3-4698-9967-B642C7AA2290}" srcOrd="2" destOrd="0" presId="urn:microsoft.com/office/officeart/2005/8/layout/cycle3"/>
    <dgm:cxn modelId="{9B398145-6733-41FC-9249-61877326BAAF}" type="presParOf" srcId="{FB670C97-3C24-417E-8B51-138CB649F42B}" destId="{87413F22-4D02-4BF1-A029-172ACC5C5B45}" srcOrd="3" destOrd="0" presId="urn:microsoft.com/office/officeart/2005/8/layout/cycle3"/>
    <dgm:cxn modelId="{D6C6CD16-91F9-4364-BD3F-369FAD97D338}" type="presParOf" srcId="{FB670C97-3C24-417E-8B51-138CB649F42B}" destId="{1AEC6531-E992-4CBF-81E9-EDA4891F4065}" srcOrd="4" destOrd="0" presId="urn:microsoft.com/office/officeart/2005/8/layout/cycle3"/>
    <dgm:cxn modelId="{25436AD6-F7EC-4DE5-8461-0E0C22BA87DA}" type="presParOf" srcId="{FB670C97-3C24-417E-8B51-138CB649F42B}" destId="{8DFF09B3-0615-4AD5-8ECE-0FA969E0AEA5}" srcOrd="5" destOrd="0" presId="urn:microsoft.com/office/officeart/2005/8/layout/cycle3"/>
    <dgm:cxn modelId="{5E9E8EB1-A2D6-4163-AA47-FF5B45149DD6}" type="presParOf" srcId="{FB670C97-3C24-417E-8B51-138CB649F42B}" destId="{15125FDB-208E-411D-AE47-0341E9218783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707AB43-4886-458C-BA5E-4A14F776A772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A2456F7-9E9E-4567-ACCD-49040973B1FA}">
      <dgm:prSet phldrT="[Texto]"/>
      <dgm:spPr/>
      <dgm:t>
        <a:bodyPr/>
        <a:lstStyle/>
        <a:p>
          <a:r>
            <a:rPr lang="pt-BR" dirty="0"/>
            <a:t>VP</a:t>
          </a:r>
        </a:p>
      </dgm:t>
    </dgm:pt>
    <dgm:pt modelId="{C14BEEFB-84B1-4EBC-99FD-CBD7E190BCA2}" type="parTrans" cxnId="{DB1E6B02-FB19-4485-AB8E-6F2D963511FA}">
      <dgm:prSet/>
      <dgm:spPr/>
      <dgm:t>
        <a:bodyPr/>
        <a:lstStyle/>
        <a:p>
          <a:endParaRPr lang="pt-BR"/>
        </a:p>
      </dgm:t>
    </dgm:pt>
    <dgm:pt modelId="{C22D639B-2525-4D40-A8B1-28727211ADB4}" type="sibTrans" cxnId="{DB1E6B02-FB19-4485-AB8E-6F2D963511FA}">
      <dgm:prSet/>
      <dgm:spPr/>
      <dgm:t>
        <a:bodyPr/>
        <a:lstStyle/>
        <a:p>
          <a:endParaRPr lang="pt-BR"/>
        </a:p>
      </dgm:t>
    </dgm:pt>
    <dgm:pt modelId="{55FA336C-64F6-4A18-853D-77FC408D4E97}">
      <dgm:prSet phldrT="[Texto]"/>
      <dgm:spPr/>
      <dgm:t>
        <a:bodyPr/>
        <a:lstStyle/>
        <a:p>
          <a:r>
            <a:rPr lang="pt-BR" dirty="0"/>
            <a:t>Dir A</a:t>
          </a:r>
        </a:p>
      </dgm:t>
    </dgm:pt>
    <dgm:pt modelId="{6716340C-6C28-41DA-B883-164565EA5263}" type="parTrans" cxnId="{DA5E957C-0908-4DC0-B3FA-CDDD9E621535}">
      <dgm:prSet/>
      <dgm:spPr/>
      <dgm:t>
        <a:bodyPr/>
        <a:lstStyle/>
        <a:p>
          <a:endParaRPr lang="pt-BR"/>
        </a:p>
      </dgm:t>
    </dgm:pt>
    <dgm:pt modelId="{D8BE0268-6892-4DFC-9222-C955CA8F3312}" type="sibTrans" cxnId="{DA5E957C-0908-4DC0-B3FA-CDDD9E621535}">
      <dgm:prSet/>
      <dgm:spPr/>
      <dgm:t>
        <a:bodyPr/>
        <a:lstStyle/>
        <a:p>
          <a:endParaRPr lang="pt-BR"/>
        </a:p>
      </dgm:t>
    </dgm:pt>
    <dgm:pt modelId="{2A1E599A-3C13-4E82-A981-ACF86F0E5AE8}">
      <dgm:prSet phldrT="[Texto]"/>
      <dgm:spPr/>
      <dgm:t>
        <a:bodyPr/>
        <a:lstStyle/>
        <a:p>
          <a:r>
            <a:rPr lang="pt-BR" dirty="0" err="1"/>
            <a:t>Sup</a:t>
          </a:r>
          <a:r>
            <a:rPr lang="pt-BR" dirty="0"/>
            <a:t> B</a:t>
          </a:r>
        </a:p>
      </dgm:t>
    </dgm:pt>
    <dgm:pt modelId="{E2414EF6-DE11-4EFC-81D5-8FD76441D479}" type="parTrans" cxnId="{1E6ED12A-31F7-4208-82C3-4E247D769B84}">
      <dgm:prSet/>
      <dgm:spPr/>
      <dgm:t>
        <a:bodyPr/>
        <a:lstStyle/>
        <a:p>
          <a:endParaRPr lang="pt-BR"/>
        </a:p>
      </dgm:t>
    </dgm:pt>
    <dgm:pt modelId="{8ED6D23C-0CA8-4DC8-A8A1-09ECC25866B9}" type="sibTrans" cxnId="{1E6ED12A-31F7-4208-82C3-4E247D769B84}">
      <dgm:prSet/>
      <dgm:spPr/>
      <dgm:t>
        <a:bodyPr/>
        <a:lstStyle/>
        <a:p>
          <a:endParaRPr lang="pt-BR"/>
        </a:p>
      </dgm:t>
    </dgm:pt>
    <dgm:pt modelId="{3C2875D6-934D-4A67-B701-EFF54070DE7D}">
      <dgm:prSet phldrT="[Texto]"/>
      <dgm:spPr/>
      <dgm:t>
        <a:bodyPr/>
        <a:lstStyle/>
        <a:p>
          <a:r>
            <a:rPr lang="pt-BR" dirty="0" err="1"/>
            <a:t>Sup</a:t>
          </a:r>
          <a:r>
            <a:rPr lang="pt-BR" dirty="0"/>
            <a:t> A</a:t>
          </a:r>
        </a:p>
      </dgm:t>
    </dgm:pt>
    <dgm:pt modelId="{85A04D97-C3E9-422C-9EFC-9675C7301C0A}" type="parTrans" cxnId="{4FB73819-E224-420C-A16D-506CAD170A32}">
      <dgm:prSet/>
      <dgm:spPr/>
      <dgm:t>
        <a:bodyPr/>
        <a:lstStyle/>
        <a:p>
          <a:endParaRPr lang="pt-BR"/>
        </a:p>
      </dgm:t>
    </dgm:pt>
    <dgm:pt modelId="{2A04C35D-6ABB-4A9B-8A06-3A1E21D49681}" type="sibTrans" cxnId="{4FB73819-E224-420C-A16D-506CAD170A32}">
      <dgm:prSet/>
      <dgm:spPr/>
      <dgm:t>
        <a:bodyPr/>
        <a:lstStyle/>
        <a:p>
          <a:endParaRPr lang="pt-BR"/>
        </a:p>
      </dgm:t>
    </dgm:pt>
    <dgm:pt modelId="{58FB467D-1B99-4016-9BC6-132EA06372B2}">
      <dgm:prSet phldrT="[Texto]"/>
      <dgm:spPr/>
      <dgm:t>
        <a:bodyPr/>
        <a:lstStyle/>
        <a:p>
          <a:r>
            <a:rPr lang="pt-BR" dirty="0"/>
            <a:t>Ger A</a:t>
          </a:r>
        </a:p>
      </dgm:t>
    </dgm:pt>
    <dgm:pt modelId="{12C5F5F1-48F4-4519-BE2F-C45210F15C89}" type="parTrans" cxnId="{C4F7BCCD-6E3D-40C5-AE54-857AF6152CA4}">
      <dgm:prSet/>
      <dgm:spPr/>
      <dgm:t>
        <a:bodyPr/>
        <a:lstStyle/>
        <a:p>
          <a:endParaRPr lang="pt-BR"/>
        </a:p>
      </dgm:t>
    </dgm:pt>
    <dgm:pt modelId="{00A68917-1979-4D3A-90FB-39A5D670E38C}" type="sibTrans" cxnId="{C4F7BCCD-6E3D-40C5-AE54-857AF6152CA4}">
      <dgm:prSet/>
      <dgm:spPr/>
      <dgm:t>
        <a:bodyPr/>
        <a:lstStyle/>
        <a:p>
          <a:endParaRPr lang="pt-BR"/>
        </a:p>
      </dgm:t>
    </dgm:pt>
    <dgm:pt modelId="{B7466A43-4732-4262-B306-3FBB84EE9B90}" type="pres">
      <dgm:prSet presAssocID="{B707AB43-4886-458C-BA5E-4A14F776A772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14787C7-D056-41A2-A5D3-EC63791F8EEF}" type="pres">
      <dgm:prSet presAssocID="{8A2456F7-9E9E-4567-ACCD-49040973B1FA}" presName="hierRoot1" presStyleCnt="0">
        <dgm:presLayoutVars>
          <dgm:hierBranch val="init"/>
        </dgm:presLayoutVars>
      </dgm:prSet>
      <dgm:spPr/>
    </dgm:pt>
    <dgm:pt modelId="{AC556F34-9F3D-487A-BE15-D138E48681E8}" type="pres">
      <dgm:prSet presAssocID="{8A2456F7-9E9E-4567-ACCD-49040973B1FA}" presName="rootComposite1" presStyleCnt="0"/>
      <dgm:spPr/>
    </dgm:pt>
    <dgm:pt modelId="{E52351C3-0D46-4DEC-ADA7-619A8CABE889}" type="pres">
      <dgm:prSet presAssocID="{8A2456F7-9E9E-4567-ACCD-49040973B1FA}" presName="rootText1" presStyleLbl="alignAcc1" presStyleIdx="0" presStyleCnt="0">
        <dgm:presLayoutVars>
          <dgm:chPref val="3"/>
        </dgm:presLayoutVars>
      </dgm:prSet>
      <dgm:spPr/>
    </dgm:pt>
    <dgm:pt modelId="{D367DE2F-E4CB-4E0E-BD1A-9A4914E9C6A3}" type="pres">
      <dgm:prSet presAssocID="{8A2456F7-9E9E-4567-ACCD-49040973B1FA}" presName="topArc1" presStyleLbl="parChTrans1D1" presStyleIdx="0" presStyleCnt="10"/>
      <dgm:spPr/>
    </dgm:pt>
    <dgm:pt modelId="{D1BE0DE4-2C08-4D04-8A5B-BC26A624E514}" type="pres">
      <dgm:prSet presAssocID="{8A2456F7-9E9E-4567-ACCD-49040973B1FA}" presName="bottomArc1" presStyleLbl="parChTrans1D1" presStyleIdx="1" presStyleCnt="10"/>
      <dgm:spPr/>
    </dgm:pt>
    <dgm:pt modelId="{3918FAA8-0BAE-4043-A970-4C96CB3219A3}" type="pres">
      <dgm:prSet presAssocID="{8A2456F7-9E9E-4567-ACCD-49040973B1FA}" presName="topConnNode1" presStyleLbl="node1" presStyleIdx="0" presStyleCnt="0"/>
      <dgm:spPr/>
    </dgm:pt>
    <dgm:pt modelId="{6B82C127-D734-45E4-A8BA-C651AA443A05}" type="pres">
      <dgm:prSet presAssocID="{8A2456F7-9E9E-4567-ACCD-49040973B1FA}" presName="hierChild2" presStyleCnt="0"/>
      <dgm:spPr/>
    </dgm:pt>
    <dgm:pt modelId="{FCE8A395-1B40-4ABA-AB9C-CD5DB1721272}" type="pres">
      <dgm:prSet presAssocID="{6716340C-6C28-41DA-B883-164565EA5263}" presName="Name28" presStyleLbl="parChTrans1D2" presStyleIdx="0" presStyleCnt="2"/>
      <dgm:spPr/>
    </dgm:pt>
    <dgm:pt modelId="{6153CA23-6F18-4D5D-BAC7-C57D67BC8F8F}" type="pres">
      <dgm:prSet presAssocID="{55FA336C-64F6-4A18-853D-77FC408D4E97}" presName="hierRoot2" presStyleCnt="0">
        <dgm:presLayoutVars>
          <dgm:hierBranch val="init"/>
        </dgm:presLayoutVars>
      </dgm:prSet>
      <dgm:spPr/>
    </dgm:pt>
    <dgm:pt modelId="{37292E2F-F8FA-48F0-8B65-B652EDDCE5D2}" type="pres">
      <dgm:prSet presAssocID="{55FA336C-64F6-4A18-853D-77FC408D4E97}" presName="rootComposite2" presStyleCnt="0"/>
      <dgm:spPr/>
    </dgm:pt>
    <dgm:pt modelId="{52ACB3C8-3B27-4242-AC15-AA560B935D2D}" type="pres">
      <dgm:prSet presAssocID="{55FA336C-64F6-4A18-853D-77FC408D4E97}" presName="rootText2" presStyleLbl="alignAcc1" presStyleIdx="0" presStyleCnt="0">
        <dgm:presLayoutVars>
          <dgm:chPref val="3"/>
        </dgm:presLayoutVars>
      </dgm:prSet>
      <dgm:spPr/>
    </dgm:pt>
    <dgm:pt modelId="{215BDF88-565C-4384-9F3C-899C94A3D694}" type="pres">
      <dgm:prSet presAssocID="{55FA336C-64F6-4A18-853D-77FC408D4E97}" presName="topArc2" presStyleLbl="parChTrans1D1" presStyleIdx="2" presStyleCnt="10"/>
      <dgm:spPr/>
    </dgm:pt>
    <dgm:pt modelId="{E5B130F3-14A9-4608-A3E0-8F1487457C23}" type="pres">
      <dgm:prSet presAssocID="{55FA336C-64F6-4A18-853D-77FC408D4E97}" presName="bottomArc2" presStyleLbl="parChTrans1D1" presStyleIdx="3" presStyleCnt="10"/>
      <dgm:spPr/>
    </dgm:pt>
    <dgm:pt modelId="{7843F601-E9BC-4C54-B913-8D92550B3990}" type="pres">
      <dgm:prSet presAssocID="{55FA336C-64F6-4A18-853D-77FC408D4E97}" presName="topConnNode2" presStyleLbl="node2" presStyleIdx="0" presStyleCnt="0"/>
      <dgm:spPr/>
    </dgm:pt>
    <dgm:pt modelId="{3179C1C2-98C1-4BA5-8F59-21A617317BF9}" type="pres">
      <dgm:prSet presAssocID="{55FA336C-64F6-4A18-853D-77FC408D4E97}" presName="hierChild4" presStyleCnt="0"/>
      <dgm:spPr/>
    </dgm:pt>
    <dgm:pt modelId="{8385760B-D155-464A-A626-4359991E4D12}" type="pres">
      <dgm:prSet presAssocID="{85A04D97-C3E9-422C-9EFC-9675C7301C0A}" presName="Name28" presStyleLbl="parChTrans1D3" presStyleIdx="0" presStyleCnt="1"/>
      <dgm:spPr/>
    </dgm:pt>
    <dgm:pt modelId="{5D2E2E39-923E-42B5-8F17-7064C3A41F8F}" type="pres">
      <dgm:prSet presAssocID="{3C2875D6-934D-4A67-B701-EFF54070DE7D}" presName="hierRoot2" presStyleCnt="0">
        <dgm:presLayoutVars>
          <dgm:hierBranch val="init"/>
        </dgm:presLayoutVars>
      </dgm:prSet>
      <dgm:spPr/>
    </dgm:pt>
    <dgm:pt modelId="{AF713C29-C584-481A-97B2-7063F78753BD}" type="pres">
      <dgm:prSet presAssocID="{3C2875D6-934D-4A67-B701-EFF54070DE7D}" presName="rootComposite2" presStyleCnt="0"/>
      <dgm:spPr/>
    </dgm:pt>
    <dgm:pt modelId="{A3BF1E1B-012B-4FEA-A134-6C1BB684C820}" type="pres">
      <dgm:prSet presAssocID="{3C2875D6-934D-4A67-B701-EFF54070DE7D}" presName="rootText2" presStyleLbl="alignAcc1" presStyleIdx="0" presStyleCnt="0">
        <dgm:presLayoutVars>
          <dgm:chPref val="3"/>
        </dgm:presLayoutVars>
      </dgm:prSet>
      <dgm:spPr/>
    </dgm:pt>
    <dgm:pt modelId="{35BF9F72-34B4-46AC-957B-35DF091B7D15}" type="pres">
      <dgm:prSet presAssocID="{3C2875D6-934D-4A67-B701-EFF54070DE7D}" presName="topArc2" presStyleLbl="parChTrans1D1" presStyleIdx="4" presStyleCnt="10"/>
      <dgm:spPr/>
    </dgm:pt>
    <dgm:pt modelId="{452C543B-3F3B-4EB9-AFE1-51FE5AA5BDCF}" type="pres">
      <dgm:prSet presAssocID="{3C2875D6-934D-4A67-B701-EFF54070DE7D}" presName="bottomArc2" presStyleLbl="parChTrans1D1" presStyleIdx="5" presStyleCnt="10"/>
      <dgm:spPr/>
    </dgm:pt>
    <dgm:pt modelId="{BCB33914-C00B-42EB-8D16-BB9223CDBE8F}" type="pres">
      <dgm:prSet presAssocID="{3C2875D6-934D-4A67-B701-EFF54070DE7D}" presName="topConnNode2" presStyleLbl="node3" presStyleIdx="0" presStyleCnt="0"/>
      <dgm:spPr/>
    </dgm:pt>
    <dgm:pt modelId="{C82E9286-BFA9-4EE5-BE8B-338967F8C5DE}" type="pres">
      <dgm:prSet presAssocID="{3C2875D6-934D-4A67-B701-EFF54070DE7D}" presName="hierChild4" presStyleCnt="0"/>
      <dgm:spPr/>
    </dgm:pt>
    <dgm:pt modelId="{3A4977AE-7A83-42F0-9167-8EC12AA1620A}" type="pres">
      <dgm:prSet presAssocID="{12C5F5F1-48F4-4519-BE2F-C45210F15C89}" presName="Name28" presStyleLbl="parChTrans1D4" presStyleIdx="0" presStyleCnt="1"/>
      <dgm:spPr/>
    </dgm:pt>
    <dgm:pt modelId="{AC818FBF-6D2E-4120-804F-35AA237278A3}" type="pres">
      <dgm:prSet presAssocID="{58FB467D-1B99-4016-9BC6-132EA06372B2}" presName="hierRoot2" presStyleCnt="0">
        <dgm:presLayoutVars>
          <dgm:hierBranch val="init"/>
        </dgm:presLayoutVars>
      </dgm:prSet>
      <dgm:spPr/>
    </dgm:pt>
    <dgm:pt modelId="{DBAEBF0B-71F6-45B0-BDBC-A6FB69477B5A}" type="pres">
      <dgm:prSet presAssocID="{58FB467D-1B99-4016-9BC6-132EA06372B2}" presName="rootComposite2" presStyleCnt="0"/>
      <dgm:spPr/>
    </dgm:pt>
    <dgm:pt modelId="{3FD82C62-B007-4B9F-8F37-5281E8061B01}" type="pres">
      <dgm:prSet presAssocID="{58FB467D-1B99-4016-9BC6-132EA06372B2}" presName="rootText2" presStyleLbl="alignAcc1" presStyleIdx="0" presStyleCnt="0">
        <dgm:presLayoutVars>
          <dgm:chPref val="3"/>
        </dgm:presLayoutVars>
      </dgm:prSet>
      <dgm:spPr/>
    </dgm:pt>
    <dgm:pt modelId="{80E34D52-04B7-44FA-9B86-174E7D1EE913}" type="pres">
      <dgm:prSet presAssocID="{58FB467D-1B99-4016-9BC6-132EA06372B2}" presName="topArc2" presStyleLbl="parChTrans1D1" presStyleIdx="6" presStyleCnt="10"/>
      <dgm:spPr/>
    </dgm:pt>
    <dgm:pt modelId="{D6352D48-597D-4B4A-8F46-BF568B0504E5}" type="pres">
      <dgm:prSet presAssocID="{58FB467D-1B99-4016-9BC6-132EA06372B2}" presName="bottomArc2" presStyleLbl="parChTrans1D1" presStyleIdx="7" presStyleCnt="10"/>
      <dgm:spPr/>
    </dgm:pt>
    <dgm:pt modelId="{9C453045-9A8E-4766-B626-C9554C817081}" type="pres">
      <dgm:prSet presAssocID="{58FB467D-1B99-4016-9BC6-132EA06372B2}" presName="topConnNode2" presStyleLbl="node4" presStyleIdx="0" presStyleCnt="0"/>
      <dgm:spPr/>
    </dgm:pt>
    <dgm:pt modelId="{D54DDD4C-2551-48B2-9BFF-74BF70B9097F}" type="pres">
      <dgm:prSet presAssocID="{58FB467D-1B99-4016-9BC6-132EA06372B2}" presName="hierChild4" presStyleCnt="0"/>
      <dgm:spPr/>
    </dgm:pt>
    <dgm:pt modelId="{DC6CC5FF-DED4-4481-8DCE-142CF1E9DA3C}" type="pres">
      <dgm:prSet presAssocID="{58FB467D-1B99-4016-9BC6-132EA06372B2}" presName="hierChild5" presStyleCnt="0"/>
      <dgm:spPr/>
    </dgm:pt>
    <dgm:pt modelId="{A65A4836-99AD-4722-A165-60F686588AE2}" type="pres">
      <dgm:prSet presAssocID="{3C2875D6-934D-4A67-B701-EFF54070DE7D}" presName="hierChild5" presStyleCnt="0"/>
      <dgm:spPr/>
    </dgm:pt>
    <dgm:pt modelId="{8AEC2BFA-694A-44CF-98E6-B12C91A55E06}" type="pres">
      <dgm:prSet presAssocID="{55FA336C-64F6-4A18-853D-77FC408D4E97}" presName="hierChild5" presStyleCnt="0"/>
      <dgm:spPr/>
    </dgm:pt>
    <dgm:pt modelId="{981E8877-0E07-4609-B1E5-77C4D02383A7}" type="pres">
      <dgm:prSet presAssocID="{E2414EF6-DE11-4EFC-81D5-8FD76441D479}" presName="Name28" presStyleLbl="parChTrans1D2" presStyleIdx="1" presStyleCnt="2"/>
      <dgm:spPr/>
    </dgm:pt>
    <dgm:pt modelId="{EDE35EF0-C1D1-4C02-90F1-4896C78919D6}" type="pres">
      <dgm:prSet presAssocID="{2A1E599A-3C13-4E82-A981-ACF86F0E5AE8}" presName="hierRoot2" presStyleCnt="0">
        <dgm:presLayoutVars>
          <dgm:hierBranch val="init"/>
        </dgm:presLayoutVars>
      </dgm:prSet>
      <dgm:spPr/>
    </dgm:pt>
    <dgm:pt modelId="{C602A5A3-C4F1-4BAC-B424-37505363BB52}" type="pres">
      <dgm:prSet presAssocID="{2A1E599A-3C13-4E82-A981-ACF86F0E5AE8}" presName="rootComposite2" presStyleCnt="0"/>
      <dgm:spPr/>
    </dgm:pt>
    <dgm:pt modelId="{0BCBD510-3AE8-4F33-A4F0-04D89FC90CE2}" type="pres">
      <dgm:prSet presAssocID="{2A1E599A-3C13-4E82-A981-ACF86F0E5AE8}" presName="rootText2" presStyleLbl="alignAcc1" presStyleIdx="0" presStyleCnt="0">
        <dgm:presLayoutVars>
          <dgm:chPref val="3"/>
        </dgm:presLayoutVars>
      </dgm:prSet>
      <dgm:spPr/>
    </dgm:pt>
    <dgm:pt modelId="{ACEA0FFE-E2C1-47F8-880D-380F03FB4333}" type="pres">
      <dgm:prSet presAssocID="{2A1E599A-3C13-4E82-A981-ACF86F0E5AE8}" presName="topArc2" presStyleLbl="parChTrans1D1" presStyleIdx="8" presStyleCnt="10"/>
      <dgm:spPr/>
    </dgm:pt>
    <dgm:pt modelId="{2466107A-E925-4FCB-BE36-F7899D130815}" type="pres">
      <dgm:prSet presAssocID="{2A1E599A-3C13-4E82-A981-ACF86F0E5AE8}" presName="bottomArc2" presStyleLbl="parChTrans1D1" presStyleIdx="9" presStyleCnt="10"/>
      <dgm:spPr/>
    </dgm:pt>
    <dgm:pt modelId="{B17A7742-CFE3-4FA1-816D-8999C2A30DA0}" type="pres">
      <dgm:prSet presAssocID="{2A1E599A-3C13-4E82-A981-ACF86F0E5AE8}" presName="topConnNode2" presStyleLbl="node2" presStyleIdx="0" presStyleCnt="0"/>
      <dgm:spPr/>
    </dgm:pt>
    <dgm:pt modelId="{8CCE1D71-1032-4AA6-BF0F-2A9BEE35A383}" type="pres">
      <dgm:prSet presAssocID="{2A1E599A-3C13-4E82-A981-ACF86F0E5AE8}" presName="hierChild4" presStyleCnt="0"/>
      <dgm:spPr/>
    </dgm:pt>
    <dgm:pt modelId="{407B91CA-02D9-450D-95BF-465C978224A9}" type="pres">
      <dgm:prSet presAssocID="{2A1E599A-3C13-4E82-A981-ACF86F0E5AE8}" presName="hierChild5" presStyleCnt="0"/>
      <dgm:spPr/>
    </dgm:pt>
    <dgm:pt modelId="{C593C487-1B33-43DD-B587-1C530C19ED22}" type="pres">
      <dgm:prSet presAssocID="{8A2456F7-9E9E-4567-ACCD-49040973B1FA}" presName="hierChild3" presStyleCnt="0"/>
      <dgm:spPr/>
    </dgm:pt>
  </dgm:ptLst>
  <dgm:cxnLst>
    <dgm:cxn modelId="{DB1E6B02-FB19-4485-AB8E-6F2D963511FA}" srcId="{B707AB43-4886-458C-BA5E-4A14F776A772}" destId="{8A2456F7-9E9E-4567-ACCD-49040973B1FA}" srcOrd="0" destOrd="0" parTransId="{C14BEEFB-84B1-4EBC-99FD-CBD7E190BCA2}" sibTransId="{C22D639B-2525-4D40-A8B1-28727211ADB4}"/>
    <dgm:cxn modelId="{4246FA0E-C3A4-4B70-B69C-883DF111ABCE}" type="presOf" srcId="{2A1E599A-3C13-4E82-A981-ACF86F0E5AE8}" destId="{B17A7742-CFE3-4FA1-816D-8999C2A30DA0}" srcOrd="1" destOrd="0" presId="urn:microsoft.com/office/officeart/2008/layout/HalfCircleOrganizationChart"/>
    <dgm:cxn modelId="{4FB73819-E224-420C-A16D-506CAD170A32}" srcId="{55FA336C-64F6-4A18-853D-77FC408D4E97}" destId="{3C2875D6-934D-4A67-B701-EFF54070DE7D}" srcOrd="0" destOrd="0" parTransId="{85A04D97-C3E9-422C-9EFC-9675C7301C0A}" sibTransId="{2A04C35D-6ABB-4A9B-8A06-3A1E21D49681}"/>
    <dgm:cxn modelId="{7DD3E11C-C6AC-4138-A8EF-8E7FBAF653BC}" type="presOf" srcId="{12C5F5F1-48F4-4519-BE2F-C45210F15C89}" destId="{3A4977AE-7A83-42F0-9167-8EC12AA1620A}" srcOrd="0" destOrd="0" presId="urn:microsoft.com/office/officeart/2008/layout/HalfCircleOrganizationChart"/>
    <dgm:cxn modelId="{40D9AB24-376A-4293-96B5-0B9291ABF95B}" type="presOf" srcId="{55FA336C-64F6-4A18-853D-77FC408D4E97}" destId="{52ACB3C8-3B27-4242-AC15-AA560B935D2D}" srcOrd="0" destOrd="0" presId="urn:microsoft.com/office/officeart/2008/layout/HalfCircleOrganizationChart"/>
    <dgm:cxn modelId="{1E6ED12A-31F7-4208-82C3-4E247D769B84}" srcId="{8A2456F7-9E9E-4567-ACCD-49040973B1FA}" destId="{2A1E599A-3C13-4E82-A981-ACF86F0E5AE8}" srcOrd="1" destOrd="0" parTransId="{E2414EF6-DE11-4EFC-81D5-8FD76441D479}" sibTransId="{8ED6D23C-0CA8-4DC8-A8A1-09ECC25866B9}"/>
    <dgm:cxn modelId="{7E58EA2A-F36C-4DA4-AF7A-EED76CB21884}" type="presOf" srcId="{B707AB43-4886-458C-BA5E-4A14F776A772}" destId="{B7466A43-4732-4262-B306-3FBB84EE9B90}" srcOrd="0" destOrd="0" presId="urn:microsoft.com/office/officeart/2008/layout/HalfCircleOrganizationChart"/>
    <dgm:cxn modelId="{67A06763-CD2F-4B4D-8772-5AB1AA1409EA}" type="presOf" srcId="{58FB467D-1B99-4016-9BC6-132EA06372B2}" destId="{3FD82C62-B007-4B9F-8F37-5281E8061B01}" srcOrd="0" destOrd="0" presId="urn:microsoft.com/office/officeart/2008/layout/HalfCircleOrganizationChart"/>
    <dgm:cxn modelId="{09D0F977-DC0A-46CD-A90A-FDD1F619DD4E}" type="presOf" srcId="{85A04D97-C3E9-422C-9EFC-9675C7301C0A}" destId="{8385760B-D155-464A-A626-4359991E4D12}" srcOrd="0" destOrd="0" presId="urn:microsoft.com/office/officeart/2008/layout/HalfCircleOrganizationChart"/>
    <dgm:cxn modelId="{B5FCDF58-D3FD-4E1A-B9EE-833F9F88AD84}" type="presOf" srcId="{58FB467D-1B99-4016-9BC6-132EA06372B2}" destId="{9C453045-9A8E-4766-B626-C9554C817081}" srcOrd="1" destOrd="0" presId="urn:microsoft.com/office/officeart/2008/layout/HalfCircleOrganizationChart"/>
    <dgm:cxn modelId="{DA5E957C-0908-4DC0-B3FA-CDDD9E621535}" srcId="{8A2456F7-9E9E-4567-ACCD-49040973B1FA}" destId="{55FA336C-64F6-4A18-853D-77FC408D4E97}" srcOrd="0" destOrd="0" parTransId="{6716340C-6C28-41DA-B883-164565EA5263}" sibTransId="{D8BE0268-6892-4DFC-9222-C955CA8F3312}"/>
    <dgm:cxn modelId="{840ADB80-4DCC-4DE0-837C-E7755C48AF6F}" type="presOf" srcId="{3C2875D6-934D-4A67-B701-EFF54070DE7D}" destId="{BCB33914-C00B-42EB-8D16-BB9223CDBE8F}" srcOrd="1" destOrd="0" presId="urn:microsoft.com/office/officeart/2008/layout/HalfCircleOrganizationChart"/>
    <dgm:cxn modelId="{A2201088-2A95-40D1-BCDB-6706DD5D023B}" type="presOf" srcId="{8A2456F7-9E9E-4567-ACCD-49040973B1FA}" destId="{3918FAA8-0BAE-4043-A970-4C96CB3219A3}" srcOrd="1" destOrd="0" presId="urn:microsoft.com/office/officeart/2008/layout/HalfCircleOrganizationChart"/>
    <dgm:cxn modelId="{1C49BF8A-803F-48E4-9CA6-8E0CC5A24696}" type="presOf" srcId="{3C2875D6-934D-4A67-B701-EFF54070DE7D}" destId="{A3BF1E1B-012B-4FEA-A134-6C1BB684C820}" srcOrd="0" destOrd="0" presId="urn:microsoft.com/office/officeart/2008/layout/HalfCircleOrganizationChart"/>
    <dgm:cxn modelId="{D7729B8B-648C-40EE-A3AC-BFC8352E934D}" type="presOf" srcId="{55FA336C-64F6-4A18-853D-77FC408D4E97}" destId="{7843F601-E9BC-4C54-B913-8D92550B3990}" srcOrd="1" destOrd="0" presId="urn:microsoft.com/office/officeart/2008/layout/HalfCircleOrganizationChart"/>
    <dgm:cxn modelId="{C5C45FAD-71B8-450F-8385-DDFE049F9696}" type="presOf" srcId="{E2414EF6-DE11-4EFC-81D5-8FD76441D479}" destId="{981E8877-0E07-4609-B1E5-77C4D02383A7}" srcOrd="0" destOrd="0" presId="urn:microsoft.com/office/officeart/2008/layout/HalfCircleOrganizationChart"/>
    <dgm:cxn modelId="{86ED07B1-2E43-4359-8DC0-D451F354961B}" type="presOf" srcId="{8A2456F7-9E9E-4567-ACCD-49040973B1FA}" destId="{E52351C3-0D46-4DEC-ADA7-619A8CABE889}" srcOrd="0" destOrd="0" presId="urn:microsoft.com/office/officeart/2008/layout/HalfCircleOrganizationChart"/>
    <dgm:cxn modelId="{C4F7BCCD-6E3D-40C5-AE54-857AF6152CA4}" srcId="{3C2875D6-934D-4A67-B701-EFF54070DE7D}" destId="{58FB467D-1B99-4016-9BC6-132EA06372B2}" srcOrd="0" destOrd="0" parTransId="{12C5F5F1-48F4-4519-BE2F-C45210F15C89}" sibTransId="{00A68917-1979-4D3A-90FB-39A5D670E38C}"/>
    <dgm:cxn modelId="{6E5192D5-9CFD-45E9-87C3-1F5D9B2A81DA}" type="presOf" srcId="{6716340C-6C28-41DA-B883-164565EA5263}" destId="{FCE8A395-1B40-4ABA-AB9C-CD5DB1721272}" srcOrd="0" destOrd="0" presId="urn:microsoft.com/office/officeart/2008/layout/HalfCircleOrganizationChart"/>
    <dgm:cxn modelId="{BD83C6E3-FBBD-4911-874B-F7752FA6408E}" type="presOf" srcId="{2A1E599A-3C13-4E82-A981-ACF86F0E5AE8}" destId="{0BCBD510-3AE8-4F33-A4F0-04D89FC90CE2}" srcOrd="0" destOrd="0" presId="urn:microsoft.com/office/officeart/2008/layout/HalfCircleOrganizationChart"/>
    <dgm:cxn modelId="{8466F5BB-FCA8-4475-B4F5-865FE2C06D4F}" type="presParOf" srcId="{B7466A43-4732-4262-B306-3FBB84EE9B90}" destId="{014787C7-D056-41A2-A5D3-EC63791F8EEF}" srcOrd="0" destOrd="0" presId="urn:microsoft.com/office/officeart/2008/layout/HalfCircleOrganizationChart"/>
    <dgm:cxn modelId="{DFB97A64-2EC2-47D2-AD63-16D13DE11AAE}" type="presParOf" srcId="{014787C7-D056-41A2-A5D3-EC63791F8EEF}" destId="{AC556F34-9F3D-487A-BE15-D138E48681E8}" srcOrd="0" destOrd="0" presId="urn:microsoft.com/office/officeart/2008/layout/HalfCircleOrganizationChart"/>
    <dgm:cxn modelId="{8A117E75-8352-4CE8-8483-CBDF019C8E43}" type="presParOf" srcId="{AC556F34-9F3D-487A-BE15-D138E48681E8}" destId="{E52351C3-0D46-4DEC-ADA7-619A8CABE889}" srcOrd="0" destOrd="0" presId="urn:microsoft.com/office/officeart/2008/layout/HalfCircleOrganizationChart"/>
    <dgm:cxn modelId="{05BA7E14-1307-40EA-B6F7-9821416BDB55}" type="presParOf" srcId="{AC556F34-9F3D-487A-BE15-D138E48681E8}" destId="{D367DE2F-E4CB-4E0E-BD1A-9A4914E9C6A3}" srcOrd="1" destOrd="0" presId="urn:microsoft.com/office/officeart/2008/layout/HalfCircleOrganizationChart"/>
    <dgm:cxn modelId="{B8E78E57-D5B6-4F24-9576-3A0B9F746571}" type="presParOf" srcId="{AC556F34-9F3D-487A-BE15-D138E48681E8}" destId="{D1BE0DE4-2C08-4D04-8A5B-BC26A624E514}" srcOrd="2" destOrd="0" presId="urn:microsoft.com/office/officeart/2008/layout/HalfCircleOrganizationChart"/>
    <dgm:cxn modelId="{FADB5D19-3525-4911-9FE0-76FB6B601571}" type="presParOf" srcId="{AC556F34-9F3D-487A-BE15-D138E48681E8}" destId="{3918FAA8-0BAE-4043-A970-4C96CB3219A3}" srcOrd="3" destOrd="0" presId="urn:microsoft.com/office/officeart/2008/layout/HalfCircleOrganizationChart"/>
    <dgm:cxn modelId="{8E4D17E0-F3F6-4D4C-9445-26B9DA746443}" type="presParOf" srcId="{014787C7-D056-41A2-A5D3-EC63791F8EEF}" destId="{6B82C127-D734-45E4-A8BA-C651AA443A05}" srcOrd="1" destOrd="0" presId="urn:microsoft.com/office/officeart/2008/layout/HalfCircleOrganizationChart"/>
    <dgm:cxn modelId="{11BEB532-39BD-4648-9A3B-8BC4F3AAF5DE}" type="presParOf" srcId="{6B82C127-D734-45E4-A8BA-C651AA443A05}" destId="{FCE8A395-1B40-4ABA-AB9C-CD5DB1721272}" srcOrd="0" destOrd="0" presId="urn:microsoft.com/office/officeart/2008/layout/HalfCircleOrganizationChart"/>
    <dgm:cxn modelId="{290B9B6C-DE0D-44C1-9AF7-8083981919B0}" type="presParOf" srcId="{6B82C127-D734-45E4-A8BA-C651AA443A05}" destId="{6153CA23-6F18-4D5D-BAC7-C57D67BC8F8F}" srcOrd="1" destOrd="0" presId="urn:microsoft.com/office/officeart/2008/layout/HalfCircleOrganizationChart"/>
    <dgm:cxn modelId="{92A94D99-7A49-4823-A62F-5E330EC64F12}" type="presParOf" srcId="{6153CA23-6F18-4D5D-BAC7-C57D67BC8F8F}" destId="{37292E2F-F8FA-48F0-8B65-B652EDDCE5D2}" srcOrd="0" destOrd="0" presId="urn:microsoft.com/office/officeart/2008/layout/HalfCircleOrganizationChart"/>
    <dgm:cxn modelId="{AC66E5DE-C125-4E66-BB4E-B2D8D242FEA6}" type="presParOf" srcId="{37292E2F-F8FA-48F0-8B65-B652EDDCE5D2}" destId="{52ACB3C8-3B27-4242-AC15-AA560B935D2D}" srcOrd="0" destOrd="0" presId="urn:microsoft.com/office/officeart/2008/layout/HalfCircleOrganizationChart"/>
    <dgm:cxn modelId="{AD228A59-32E7-4135-B30D-4F7B6D18D2CA}" type="presParOf" srcId="{37292E2F-F8FA-48F0-8B65-B652EDDCE5D2}" destId="{215BDF88-565C-4384-9F3C-899C94A3D694}" srcOrd="1" destOrd="0" presId="urn:microsoft.com/office/officeart/2008/layout/HalfCircleOrganizationChart"/>
    <dgm:cxn modelId="{B4C07EA7-6660-4111-B2A3-E2874405E030}" type="presParOf" srcId="{37292E2F-F8FA-48F0-8B65-B652EDDCE5D2}" destId="{E5B130F3-14A9-4608-A3E0-8F1487457C23}" srcOrd="2" destOrd="0" presId="urn:microsoft.com/office/officeart/2008/layout/HalfCircleOrganizationChart"/>
    <dgm:cxn modelId="{7AE815BB-AA6D-4615-AEA3-7716236F989A}" type="presParOf" srcId="{37292E2F-F8FA-48F0-8B65-B652EDDCE5D2}" destId="{7843F601-E9BC-4C54-B913-8D92550B3990}" srcOrd="3" destOrd="0" presId="urn:microsoft.com/office/officeart/2008/layout/HalfCircleOrganizationChart"/>
    <dgm:cxn modelId="{3FEBBA96-FEA0-43DF-B810-C27B95906DF3}" type="presParOf" srcId="{6153CA23-6F18-4D5D-BAC7-C57D67BC8F8F}" destId="{3179C1C2-98C1-4BA5-8F59-21A617317BF9}" srcOrd="1" destOrd="0" presId="urn:microsoft.com/office/officeart/2008/layout/HalfCircleOrganizationChart"/>
    <dgm:cxn modelId="{5879002D-EAE2-4662-A739-3CE5DEA4927E}" type="presParOf" srcId="{3179C1C2-98C1-4BA5-8F59-21A617317BF9}" destId="{8385760B-D155-464A-A626-4359991E4D12}" srcOrd="0" destOrd="0" presId="urn:microsoft.com/office/officeart/2008/layout/HalfCircleOrganizationChart"/>
    <dgm:cxn modelId="{9EF65A8C-A2CD-4B0C-ACFB-911BB59E526F}" type="presParOf" srcId="{3179C1C2-98C1-4BA5-8F59-21A617317BF9}" destId="{5D2E2E39-923E-42B5-8F17-7064C3A41F8F}" srcOrd="1" destOrd="0" presId="urn:microsoft.com/office/officeart/2008/layout/HalfCircleOrganizationChart"/>
    <dgm:cxn modelId="{81D4A1A1-F99B-496A-8BCF-2EC0BC02598E}" type="presParOf" srcId="{5D2E2E39-923E-42B5-8F17-7064C3A41F8F}" destId="{AF713C29-C584-481A-97B2-7063F78753BD}" srcOrd="0" destOrd="0" presId="urn:microsoft.com/office/officeart/2008/layout/HalfCircleOrganizationChart"/>
    <dgm:cxn modelId="{E02D094A-EE52-4199-8627-CBE7DB2CA192}" type="presParOf" srcId="{AF713C29-C584-481A-97B2-7063F78753BD}" destId="{A3BF1E1B-012B-4FEA-A134-6C1BB684C820}" srcOrd="0" destOrd="0" presId="urn:microsoft.com/office/officeart/2008/layout/HalfCircleOrganizationChart"/>
    <dgm:cxn modelId="{347C5D5F-E362-4846-9AF5-A489BE242B1F}" type="presParOf" srcId="{AF713C29-C584-481A-97B2-7063F78753BD}" destId="{35BF9F72-34B4-46AC-957B-35DF091B7D15}" srcOrd="1" destOrd="0" presId="urn:microsoft.com/office/officeart/2008/layout/HalfCircleOrganizationChart"/>
    <dgm:cxn modelId="{859D78B6-721F-4AEE-AF7C-2BC171CA68E2}" type="presParOf" srcId="{AF713C29-C584-481A-97B2-7063F78753BD}" destId="{452C543B-3F3B-4EB9-AFE1-51FE5AA5BDCF}" srcOrd="2" destOrd="0" presId="urn:microsoft.com/office/officeart/2008/layout/HalfCircleOrganizationChart"/>
    <dgm:cxn modelId="{D1EB1962-FFFE-4C04-AE2A-02AD4C54BB7A}" type="presParOf" srcId="{AF713C29-C584-481A-97B2-7063F78753BD}" destId="{BCB33914-C00B-42EB-8D16-BB9223CDBE8F}" srcOrd="3" destOrd="0" presId="urn:microsoft.com/office/officeart/2008/layout/HalfCircleOrganizationChart"/>
    <dgm:cxn modelId="{CAA69497-70E0-46CB-AC4E-67E2A1D6DCEF}" type="presParOf" srcId="{5D2E2E39-923E-42B5-8F17-7064C3A41F8F}" destId="{C82E9286-BFA9-4EE5-BE8B-338967F8C5DE}" srcOrd="1" destOrd="0" presId="urn:microsoft.com/office/officeart/2008/layout/HalfCircleOrganizationChart"/>
    <dgm:cxn modelId="{BAB87522-516F-4893-ACA7-6C98E15E337F}" type="presParOf" srcId="{C82E9286-BFA9-4EE5-BE8B-338967F8C5DE}" destId="{3A4977AE-7A83-42F0-9167-8EC12AA1620A}" srcOrd="0" destOrd="0" presId="urn:microsoft.com/office/officeart/2008/layout/HalfCircleOrganizationChart"/>
    <dgm:cxn modelId="{CD0F07E5-FFCB-463E-9FAC-DC7E3A6C2BE6}" type="presParOf" srcId="{C82E9286-BFA9-4EE5-BE8B-338967F8C5DE}" destId="{AC818FBF-6D2E-4120-804F-35AA237278A3}" srcOrd="1" destOrd="0" presId="urn:microsoft.com/office/officeart/2008/layout/HalfCircleOrganizationChart"/>
    <dgm:cxn modelId="{16D62F6F-D444-4962-872C-99ED9097D0D9}" type="presParOf" srcId="{AC818FBF-6D2E-4120-804F-35AA237278A3}" destId="{DBAEBF0B-71F6-45B0-BDBC-A6FB69477B5A}" srcOrd="0" destOrd="0" presId="urn:microsoft.com/office/officeart/2008/layout/HalfCircleOrganizationChart"/>
    <dgm:cxn modelId="{5D4BBD4B-7E77-4D4B-82ED-8DD4E82028BA}" type="presParOf" srcId="{DBAEBF0B-71F6-45B0-BDBC-A6FB69477B5A}" destId="{3FD82C62-B007-4B9F-8F37-5281E8061B01}" srcOrd="0" destOrd="0" presId="urn:microsoft.com/office/officeart/2008/layout/HalfCircleOrganizationChart"/>
    <dgm:cxn modelId="{ED3F94A7-FF40-4D9A-A7E2-2667B781D51E}" type="presParOf" srcId="{DBAEBF0B-71F6-45B0-BDBC-A6FB69477B5A}" destId="{80E34D52-04B7-44FA-9B86-174E7D1EE913}" srcOrd="1" destOrd="0" presId="urn:microsoft.com/office/officeart/2008/layout/HalfCircleOrganizationChart"/>
    <dgm:cxn modelId="{A64D0EA6-B5BF-4E09-8951-1274F2435995}" type="presParOf" srcId="{DBAEBF0B-71F6-45B0-BDBC-A6FB69477B5A}" destId="{D6352D48-597D-4B4A-8F46-BF568B0504E5}" srcOrd="2" destOrd="0" presId="urn:microsoft.com/office/officeart/2008/layout/HalfCircleOrganizationChart"/>
    <dgm:cxn modelId="{1457161D-7B5E-471C-B473-721ED2EF6383}" type="presParOf" srcId="{DBAEBF0B-71F6-45B0-BDBC-A6FB69477B5A}" destId="{9C453045-9A8E-4766-B626-C9554C817081}" srcOrd="3" destOrd="0" presId="urn:microsoft.com/office/officeart/2008/layout/HalfCircleOrganizationChart"/>
    <dgm:cxn modelId="{5F59E1CA-6ACD-4D70-A3DE-E5553757C11A}" type="presParOf" srcId="{AC818FBF-6D2E-4120-804F-35AA237278A3}" destId="{D54DDD4C-2551-48B2-9BFF-74BF70B9097F}" srcOrd="1" destOrd="0" presId="urn:microsoft.com/office/officeart/2008/layout/HalfCircleOrganizationChart"/>
    <dgm:cxn modelId="{A440BCC1-5AA7-4C5C-A24D-E72E150D6AF6}" type="presParOf" srcId="{AC818FBF-6D2E-4120-804F-35AA237278A3}" destId="{DC6CC5FF-DED4-4481-8DCE-142CF1E9DA3C}" srcOrd="2" destOrd="0" presId="urn:microsoft.com/office/officeart/2008/layout/HalfCircleOrganizationChart"/>
    <dgm:cxn modelId="{0090C584-A353-49E8-AA48-1FA4B5488707}" type="presParOf" srcId="{5D2E2E39-923E-42B5-8F17-7064C3A41F8F}" destId="{A65A4836-99AD-4722-A165-60F686588AE2}" srcOrd="2" destOrd="0" presId="urn:microsoft.com/office/officeart/2008/layout/HalfCircleOrganizationChart"/>
    <dgm:cxn modelId="{1F3D0B79-4C0B-4482-B464-334B4FB1E59C}" type="presParOf" srcId="{6153CA23-6F18-4D5D-BAC7-C57D67BC8F8F}" destId="{8AEC2BFA-694A-44CF-98E6-B12C91A55E06}" srcOrd="2" destOrd="0" presId="urn:microsoft.com/office/officeart/2008/layout/HalfCircleOrganizationChart"/>
    <dgm:cxn modelId="{055CF9FE-CD41-41E4-911D-9D93A928AE44}" type="presParOf" srcId="{6B82C127-D734-45E4-A8BA-C651AA443A05}" destId="{981E8877-0E07-4609-B1E5-77C4D02383A7}" srcOrd="2" destOrd="0" presId="urn:microsoft.com/office/officeart/2008/layout/HalfCircleOrganizationChart"/>
    <dgm:cxn modelId="{7BBC8F51-8D0C-4724-BBEC-EFA7D8636678}" type="presParOf" srcId="{6B82C127-D734-45E4-A8BA-C651AA443A05}" destId="{EDE35EF0-C1D1-4C02-90F1-4896C78919D6}" srcOrd="3" destOrd="0" presId="urn:microsoft.com/office/officeart/2008/layout/HalfCircleOrganizationChart"/>
    <dgm:cxn modelId="{09D26550-25B8-4718-B9B2-6E1D9B3FA608}" type="presParOf" srcId="{EDE35EF0-C1D1-4C02-90F1-4896C78919D6}" destId="{C602A5A3-C4F1-4BAC-B424-37505363BB52}" srcOrd="0" destOrd="0" presId="urn:microsoft.com/office/officeart/2008/layout/HalfCircleOrganizationChart"/>
    <dgm:cxn modelId="{52E46F57-0C12-4B24-B6C7-EB4866B02333}" type="presParOf" srcId="{C602A5A3-C4F1-4BAC-B424-37505363BB52}" destId="{0BCBD510-3AE8-4F33-A4F0-04D89FC90CE2}" srcOrd="0" destOrd="0" presId="urn:microsoft.com/office/officeart/2008/layout/HalfCircleOrganizationChart"/>
    <dgm:cxn modelId="{7BB2AFA5-AD03-4AD2-B3A1-4747A841AA2E}" type="presParOf" srcId="{C602A5A3-C4F1-4BAC-B424-37505363BB52}" destId="{ACEA0FFE-E2C1-47F8-880D-380F03FB4333}" srcOrd="1" destOrd="0" presId="urn:microsoft.com/office/officeart/2008/layout/HalfCircleOrganizationChart"/>
    <dgm:cxn modelId="{DC4A2B59-A4A1-4ED8-93FE-F4BE88AE8194}" type="presParOf" srcId="{C602A5A3-C4F1-4BAC-B424-37505363BB52}" destId="{2466107A-E925-4FCB-BE36-F7899D130815}" srcOrd="2" destOrd="0" presId="urn:microsoft.com/office/officeart/2008/layout/HalfCircleOrganizationChart"/>
    <dgm:cxn modelId="{278DED09-17AB-453E-8A64-E6A9E8CA4D2F}" type="presParOf" srcId="{C602A5A3-C4F1-4BAC-B424-37505363BB52}" destId="{B17A7742-CFE3-4FA1-816D-8999C2A30DA0}" srcOrd="3" destOrd="0" presId="urn:microsoft.com/office/officeart/2008/layout/HalfCircleOrganizationChart"/>
    <dgm:cxn modelId="{2A9B1E7F-392A-47C1-BF6D-77DC23A4F65F}" type="presParOf" srcId="{EDE35EF0-C1D1-4C02-90F1-4896C78919D6}" destId="{8CCE1D71-1032-4AA6-BF0F-2A9BEE35A383}" srcOrd="1" destOrd="0" presId="urn:microsoft.com/office/officeart/2008/layout/HalfCircleOrganizationChart"/>
    <dgm:cxn modelId="{464E6BAD-108F-4783-875C-1403848B5603}" type="presParOf" srcId="{EDE35EF0-C1D1-4C02-90F1-4896C78919D6}" destId="{407B91CA-02D9-450D-95BF-465C978224A9}" srcOrd="2" destOrd="0" presId="urn:microsoft.com/office/officeart/2008/layout/HalfCircleOrganizationChart"/>
    <dgm:cxn modelId="{4E734ACE-B576-4A21-891A-30A8796F2FE2}" type="presParOf" srcId="{014787C7-D056-41A2-A5D3-EC63791F8EEF}" destId="{C593C487-1B33-43DD-B587-1C530C19ED22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27FFEC0-76FB-4EED-BD60-7716D0EBC473}" type="doc">
      <dgm:prSet loTypeId="urn:microsoft.com/office/officeart/2005/8/layout/process4" loCatId="process" qsTypeId="urn:microsoft.com/office/officeart/2005/8/quickstyle/3d4" qsCatId="3D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D0058459-5C5B-4830-8B7A-70F412A88038}">
      <dgm:prSet custT="1"/>
      <dgm:spPr/>
      <dgm:t>
        <a:bodyPr/>
        <a:lstStyle/>
        <a:p>
          <a:pPr algn="ctr"/>
          <a:r>
            <a:rPr lang="pt-BR" sz="2800" b="0" dirty="0">
              <a:latin typeface="Calibri" panose="020F0502020204030204" pitchFamily="34" charset="0"/>
            </a:rPr>
            <a:t>Aumentar a urgência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EAB6C573-151A-467E-96BA-FB1555B56FD1}" type="parTrans" cxnId="{302F7718-2F54-44C8-B062-4F3A6EE80031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654F2F12-F12E-4935-8246-C27E94FD407D}" type="sibTrans" cxnId="{302F7718-2F54-44C8-B062-4F3A6EE80031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A921E2E9-B4E2-479D-B3EF-E773C30D9C69}">
      <dgm:prSet custT="1"/>
      <dgm:spPr/>
      <dgm:t>
        <a:bodyPr/>
        <a:lstStyle/>
        <a:p>
          <a:pPr algn="ctr"/>
          <a:r>
            <a:rPr lang="pt-BR" sz="2800" b="0" dirty="0">
              <a:latin typeface="Calibri" panose="020F0502020204030204" pitchFamily="34" charset="0"/>
            </a:rPr>
            <a:t>Construir equipe de orientação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931A4592-925E-43C0-BEE6-71900EC08051}" type="parTrans" cxnId="{4CB06CC7-92EA-42DF-9A75-ADE3CD9EAEFD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631D4AD6-12AC-47A9-8FB6-2BFB24DEE5E1}" type="sibTrans" cxnId="{4CB06CC7-92EA-42DF-9A75-ADE3CD9EAEFD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3A94C3E6-F8AB-4D20-9B21-285A1B59B908}">
      <dgm:prSet custT="1"/>
      <dgm:spPr/>
      <dgm:t>
        <a:bodyPr/>
        <a:lstStyle/>
        <a:p>
          <a:pPr algn="ctr"/>
          <a:r>
            <a:rPr lang="pt-BR" sz="2800" b="0" dirty="0">
              <a:latin typeface="Calibri" panose="020F0502020204030204" pitchFamily="34" charset="0"/>
            </a:rPr>
            <a:t>Desenvolver a visão certa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860A8E67-86EA-403B-B9AD-867F2C3A5EA5}" type="parTrans" cxnId="{39670190-E353-461E-A05E-221C8FD00387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94887048-9F7C-4B4B-BDC4-49F5ADAFE61B}" type="sibTrans" cxnId="{39670190-E353-461E-A05E-221C8FD00387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F3557A63-A622-4151-8820-70F63C3571EF}">
      <dgm:prSet custT="1"/>
      <dgm:spPr/>
      <dgm:t>
        <a:bodyPr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>
              <a:latin typeface="Calibri" panose="020F0502020204030204" pitchFamily="34" charset="0"/>
              <a:ea typeface="+mn-ea"/>
              <a:cs typeface="+mn-cs"/>
            </a:rPr>
            <a:t>Comunicar-se para promover a compra</a:t>
          </a:r>
          <a:endParaRPr lang="en-US" sz="2800" b="0" kern="1200" dirty="0">
            <a:latin typeface="Calibri" panose="020F0502020204030204" pitchFamily="34" charset="0"/>
            <a:ea typeface="+mn-ea"/>
            <a:cs typeface="+mn-cs"/>
          </a:endParaRPr>
        </a:p>
      </dgm:t>
    </dgm:pt>
    <dgm:pt modelId="{B8CB061C-49A4-46C9-B9E7-345BC6BB7D0D}" type="parTrans" cxnId="{2BECBFDD-A9B3-4C23-AFEB-ED3F917ACBBF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F4CB88FF-3A0E-408C-B238-DE63D78ED457}" type="sibTrans" cxnId="{2BECBFDD-A9B3-4C23-AFEB-ED3F917ACBBF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D96ACB3A-8ADE-4C88-8F28-811B0FD66FAC}">
      <dgm:prSet custT="1"/>
      <dgm:spPr/>
      <dgm:t>
        <a:bodyPr/>
        <a:lstStyle/>
        <a:p>
          <a:pPr algn="ctr"/>
          <a:r>
            <a:rPr lang="pt-BR" sz="2800" b="0" i="1" dirty="0">
              <a:latin typeface="Calibri" panose="020F0502020204030204" pitchFamily="34" charset="0"/>
            </a:rPr>
            <a:t>Empowerment para  a ação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30FAFE05-239C-4374-9ADC-EF7F3A33037E}" type="parTrans" cxnId="{9F636481-45E2-4B0E-8061-004E9B5F9F71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C807498A-87BE-4859-B0B3-FC2952B2CAA3}" type="sibTrans" cxnId="{9F636481-45E2-4B0E-8061-004E9B5F9F71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5DB937FC-2643-4664-90C2-B44956CA20FA}">
      <dgm:prSet custT="1"/>
      <dgm:spPr/>
      <dgm:t>
        <a:bodyPr/>
        <a:lstStyle/>
        <a:p>
          <a:pPr algn="ctr"/>
          <a:r>
            <a:rPr lang="pt-BR" sz="2800" b="0" dirty="0">
              <a:latin typeface="Calibri" panose="020F0502020204030204" pitchFamily="34" charset="0"/>
            </a:rPr>
            <a:t>Propiciar vitórias de curto prazo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76E4EA7F-F65F-41F6-AE2F-40C7AD33BA22}" type="parTrans" cxnId="{150664C5-5D37-436A-9279-303A8EB4501A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58914318-F352-4B22-954E-1B81F9147807}" type="sibTrans" cxnId="{150664C5-5D37-436A-9279-303A8EB4501A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A3B3D41E-D400-45B4-8621-D05DC603EE9B}">
      <dgm:prSet custT="1"/>
      <dgm:spPr/>
      <dgm:t>
        <a:bodyPr/>
        <a:lstStyle/>
        <a:p>
          <a:pPr algn="ctr"/>
          <a:r>
            <a:rPr lang="pt-BR" sz="2800" b="0" dirty="0">
              <a:latin typeface="Calibri" panose="020F0502020204030204" pitchFamily="34" charset="0"/>
            </a:rPr>
            <a:t>Não permitir o desânimo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B5E81A4D-7C2B-455F-856F-2B223D7B912F}" type="parTrans" cxnId="{EA5AA87C-F75F-4427-803F-6902DD423D19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D294C5EB-8062-4FBB-B065-74323F002C24}" type="sibTrans" cxnId="{EA5AA87C-F75F-4427-803F-6902DD423D19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CD3554D1-D197-4E4D-9CB2-7B5F53F73367}">
      <dgm:prSet custT="1"/>
      <dgm:spPr/>
      <dgm:t>
        <a:bodyPr/>
        <a:lstStyle/>
        <a:p>
          <a:pPr algn="ctr"/>
          <a:r>
            <a:rPr lang="pt-BR" sz="2800" b="0" dirty="0">
              <a:latin typeface="Calibri" panose="020F0502020204030204" pitchFamily="34" charset="0"/>
            </a:rPr>
            <a:t>Tornar a mudança duradouro</a:t>
          </a:r>
          <a:endParaRPr lang="en-US" sz="2800" b="0" dirty="0">
            <a:latin typeface="Calibri" panose="020F0502020204030204" pitchFamily="34" charset="0"/>
          </a:endParaRPr>
        </a:p>
      </dgm:t>
    </dgm:pt>
    <dgm:pt modelId="{83488313-C343-4E41-88A8-9DB84752EBAA}" type="parTrans" cxnId="{CCB2FBAC-ABB3-4B52-97BB-0D286A38682B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8516D27F-8A19-472C-9D30-5331C055AE0F}" type="sibTrans" cxnId="{CCB2FBAC-ABB3-4B52-97BB-0D286A38682B}">
      <dgm:prSet/>
      <dgm:spPr/>
      <dgm:t>
        <a:bodyPr/>
        <a:lstStyle/>
        <a:p>
          <a:pPr algn="ctr"/>
          <a:endParaRPr lang="en-US" sz="2800" b="0">
            <a:latin typeface="Calibri" panose="020F0502020204030204" pitchFamily="34" charset="0"/>
          </a:endParaRPr>
        </a:p>
      </dgm:t>
    </dgm:pt>
    <dgm:pt modelId="{6B0F62E6-3645-4CC5-94F7-5FDDB56C69A8}" type="pres">
      <dgm:prSet presAssocID="{A27FFEC0-76FB-4EED-BD60-7716D0EBC473}" presName="Name0" presStyleCnt="0">
        <dgm:presLayoutVars>
          <dgm:dir/>
          <dgm:animLvl val="lvl"/>
          <dgm:resizeHandles val="exact"/>
        </dgm:presLayoutVars>
      </dgm:prSet>
      <dgm:spPr/>
    </dgm:pt>
    <dgm:pt modelId="{6C2C8714-9381-4EF0-9360-735D9F52D208}" type="pres">
      <dgm:prSet presAssocID="{CD3554D1-D197-4E4D-9CB2-7B5F53F73367}" presName="boxAndChildren" presStyleCnt="0"/>
      <dgm:spPr/>
    </dgm:pt>
    <dgm:pt modelId="{4E50911E-B88C-48E5-8D68-02FD750C2171}" type="pres">
      <dgm:prSet presAssocID="{CD3554D1-D197-4E4D-9CB2-7B5F53F73367}" presName="parentTextBox" presStyleLbl="node1" presStyleIdx="0" presStyleCnt="8"/>
      <dgm:spPr/>
    </dgm:pt>
    <dgm:pt modelId="{1734CFF9-8643-486B-9431-0ACCC33F0B76}" type="pres">
      <dgm:prSet presAssocID="{D294C5EB-8062-4FBB-B065-74323F002C24}" presName="sp" presStyleCnt="0"/>
      <dgm:spPr/>
    </dgm:pt>
    <dgm:pt modelId="{E83C446B-8B30-43F6-A9E6-D636E1F068B1}" type="pres">
      <dgm:prSet presAssocID="{A3B3D41E-D400-45B4-8621-D05DC603EE9B}" presName="arrowAndChildren" presStyleCnt="0"/>
      <dgm:spPr/>
    </dgm:pt>
    <dgm:pt modelId="{7AD70EA0-3B9B-48C4-A8F8-A3D3922A0EF6}" type="pres">
      <dgm:prSet presAssocID="{A3B3D41E-D400-45B4-8621-D05DC603EE9B}" presName="parentTextArrow" presStyleLbl="node1" presStyleIdx="1" presStyleCnt="8"/>
      <dgm:spPr/>
    </dgm:pt>
    <dgm:pt modelId="{902A0184-1E19-454B-B4DB-4AC5402C985E}" type="pres">
      <dgm:prSet presAssocID="{58914318-F352-4B22-954E-1B81F9147807}" presName="sp" presStyleCnt="0"/>
      <dgm:spPr/>
    </dgm:pt>
    <dgm:pt modelId="{E2BC1A2A-2046-4A2C-87BC-4BA4EB08CEA5}" type="pres">
      <dgm:prSet presAssocID="{5DB937FC-2643-4664-90C2-B44956CA20FA}" presName="arrowAndChildren" presStyleCnt="0"/>
      <dgm:spPr/>
    </dgm:pt>
    <dgm:pt modelId="{0DD5D1AA-5F83-4C64-BE6F-0D43D1DDEF9A}" type="pres">
      <dgm:prSet presAssocID="{5DB937FC-2643-4664-90C2-B44956CA20FA}" presName="parentTextArrow" presStyleLbl="node1" presStyleIdx="2" presStyleCnt="8"/>
      <dgm:spPr/>
    </dgm:pt>
    <dgm:pt modelId="{A69CFA64-986C-4662-A8F0-BE54EA30D1A6}" type="pres">
      <dgm:prSet presAssocID="{C807498A-87BE-4859-B0B3-FC2952B2CAA3}" presName="sp" presStyleCnt="0"/>
      <dgm:spPr/>
    </dgm:pt>
    <dgm:pt modelId="{4782F81E-987A-47D5-9C38-0C1D9AAEE565}" type="pres">
      <dgm:prSet presAssocID="{D96ACB3A-8ADE-4C88-8F28-811B0FD66FAC}" presName="arrowAndChildren" presStyleCnt="0"/>
      <dgm:spPr/>
    </dgm:pt>
    <dgm:pt modelId="{B1A47B7A-71B5-4561-AFBD-08E297D7CCE1}" type="pres">
      <dgm:prSet presAssocID="{D96ACB3A-8ADE-4C88-8F28-811B0FD66FAC}" presName="parentTextArrow" presStyleLbl="node1" presStyleIdx="3" presStyleCnt="8"/>
      <dgm:spPr/>
    </dgm:pt>
    <dgm:pt modelId="{8DADAB3A-5FDF-4E78-BCB8-9DDF470C5CC1}" type="pres">
      <dgm:prSet presAssocID="{F4CB88FF-3A0E-408C-B238-DE63D78ED457}" presName="sp" presStyleCnt="0"/>
      <dgm:spPr/>
    </dgm:pt>
    <dgm:pt modelId="{5E1EC230-D228-4223-B082-D2341E0B6F0E}" type="pres">
      <dgm:prSet presAssocID="{F3557A63-A622-4151-8820-70F63C3571EF}" presName="arrowAndChildren" presStyleCnt="0"/>
      <dgm:spPr/>
    </dgm:pt>
    <dgm:pt modelId="{EDC02030-B7F8-48D1-BD54-047D9DA32A6C}" type="pres">
      <dgm:prSet presAssocID="{F3557A63-A622-4151-8820-70F63C3571EF}" presName="parentTextArrow" presStyleLbl="node1" presStyleIdx="4" presStyleCnt="8"/>
      <dgm:spPr/>
    </dgm:pt>
    <dgm:pt modelId="{0CE6D25A-ECA8-49F6-892A-EC04C8A05839}" type="pres">
      <dgm:prSet presAssocID="{94887048-9F7C-4B4B-BDC4-49F5ADAFE61B}" presName="sp" presStyleCnt="0"/>
      <dgm:spPr/>
    </dgm:pt>
    <dgm:pt modelId="{05F27F60-B851-4879-A1FB-C8FBBC0F4E7D}" type="pres">
      <dgm:prSet presAssocID="{3A94C3E6-F8AB-4D20-9B21-285A1B59B908}" presName="arrowAndChildren" presStyleCnt="0"/>
      <dgm:spPr/>
    </dgm:pt>
    <dgm:pt modelId="{316D7AC8-D37E-4A35-AB4C-CA58677BB6D6}" type="pres">
      <dgm:prSet presAssocID="{3A94C3E6-F8AB-4D20-9B21-285A1B59B908}" presName="parentTextArrow" presStyleLbl="node1" presStyleIdx="5" presStyleCnt="8"/>
      <dgm:spPr/>
    </dgm:pt>
    <dgm:pt modelId="{F20FAE72-3C16-4687-94AA-212CE4EED2EC}" type="pres">
      <dgm:prSet presAssocID="{631D4AD6-12AC-47A9-8FB6-2BFB24DEE5E1}" presName="sp" presStyleCnt="0"/>
      <dgm:spPr/>
    </dgm:pt>
    <dgm:pt modelId="{7F92EA00-B95C-4767-83E1-6C10007B1BBE}" type="pres">
      <dgm:prSet presAssocID="{A921E2E9-B4E2-479D-B3EF-E773C30D9C69}" presName="arrowAndChildren" presStyleCnt="0"/>
      <dgm:spPr/>
    </dgm:pt>
    <dgm:pt modelId="{09102370-956A-4F40-B23D-E64FFF926E00}" type="pres">
      <dgm:prSet presAssocID="{A921E2E9-B4E2-479D-B3EF-E773C30D9C69}" presName="parentTextArrow" presStyleLbl="node1" presStyleIdx="6" presStyleCnt="8"/>
      <dgm:spPr/>
    </dgm:pt>
    <dgm:pt modelId="{C6B71132-9EA2-4EB2-B33F-5DB543809F68}" type="pres">
      <dgm:prSet presAssocID="{654F2F12-F12E-4935-8246-C27E94FD407D}" presName="sp" presStyleCnt="0"/>
      <dgm:spPr/>
    </dgm:pt>
    <dgm:pt modelId="{629F3CF9-0F11-46D4-BDBE-A76079A252C7}" type="pres">
      <dgm:prSet presAssocID="{D0058459-5C5B-4830-8B7A-70F412A88038}" presName="arrowAndChildren" presStyleCnt="0"/>
      <dgm:spPr/>
    </dgm:pt>
    <dgm:pt modelId="{1BB428C8-D024-4700-B04A-32C1C73953E6}" type="pres">
      <dgm:prSet presAssocID="{D0058459-5C5B-4830-8B7A-70F412A88038}" presName="parentTextArrow" presStyleLbl="node1" presStyleIdx="7" presStyleCnt="8"/>
      <dgm:spPr/>
    </dgm:pt>
  </dgm:ptLst>
  <dgm:cxnLst>
    <dgm:cxn modelId="{302F7718-2F54-44C8-B062-4F3A6EE80031}" srcId="{A27FFEC0-76FB-4EED-BD60-7716D0EBC473}" destId="{D0058459-5C5B-4830-8B7A-70F412A88038}" srcOrd="0" destOrd="0" parTransId="{EAB6C573-151A-467E-96BA-FB1555B56FD1}" sibTransId="{654F2F12-F12E-4935-8246-C27E94FD407D}"/>
    <dgm:cxn modelId="{554DD41F-8415-49C1-BA72-22C62DD3C467}" type="presOf" srcId="{F3557A63-A622-4151-8820-70F63C3571EF}" destId="{EDC02030-B7F8-48D1-BD54-047D9DA32A6C}" srcOrd="0" destOrd="0" presId="urn:microsoft.com/office/officeart/2005/8/layout/process4"/>
    <dgm:cxn modelId="{AECC092D-1000-45C6-9F80-052A925D7767}" type="presOf" srcId="{CD3554D1-D197-4E4D-9CB2-7B5F53F73367}" destId="{4E50911E-B88C-48E5-8D68-02FD750C2171}" srcOrd="0" destOrd="0" presId="urn:microsoft.com/office/officeart/2005/8/layout/process4"/>
    <dgm:cxn modelId="{3065462E-ED6F-4A2C-B912-B8C3DDE04EF6}" type="presOf" srcId="{D0058459-5C5B-4830-8B7A-70F412A88038}" destId="{1BB428C8-D024-4700-B04A-32C1C73953E6}" srcOrd="0" destOrd="0" presId="urn:microsoft.com/office/officeart/2005/8/layout/process4"/>
    <dgm:cxn modelId="{9369C85D-1146-4FEF-8BB0-A1A9FF20303A}" type="presOf" srcId="{A3B3D41E-D400-45B4-8621-D05DC603EE9B}" destId="{7AD70EA0-3B9B-48C4-A8F8-A3D3922A0EF6}" srcOrd="0" destOrd="0" presId="urn:microsoft.com/office/officeart/2005/8/layout/process4"/>
    <dgm:cxn modelId="{415D7144-B5C6-428B-B9FB-262B555E1FEB}" type="presOf" srcId="{5DB937FC-2643-4664-90C2-B44956CA20FA}" destId="{0DD5D1AA-5F83-4C64-BE6F-0D43D1DDEF9A}" srcOrd="0" destOrd="0" presId="urn:microsoft.com/office/officeart/2005/8/layout/process4"/>
    <dgm:cxn modelId="{EA5AA87C-F75F-4427-803F-6902DD423D19}" srcId="{A27FFEC0-76FB-4EED-BD60-7716D0EBC473}" destId="{A3B3D41E-D400-45B4-8621-D05DC603EE9B}" srcOrd="6" destOrd="0" parTransId="{B5E81A4D-7C2B-455F-856F-2B223D7B912F}" sibTransId="{D294C5EB-8062-4FBB-B065-74323F002C24}"/>
    <dgm:cxn modelId="{9F636481-45E2-4B0E-8061-004E9B5F9F71}" srcId="{A27FFEC0-76FB-4EED-BD60-7716D0EBC473}" destId="{D96ACB3A-8ADE-4C88-8F28-811B0FD66FAC}" srcOrd="4" destOrd="0" parTransId="{30FAFE05-239C-4374-9ADC-EF7F3A33037E}" sibTransId="{C807498A-87BE-4859-B0B3-FC2952B2CAA3}"/>
    <dgm:cxn modelId="{183DB086-51AD-4EF7-A323-AAB237413265}" type="presOf" srcId="{3A94C3E6-F8AB-4D20-9B21-285A1B59B908}" destId="{316D7AC8-D37E-4A35-AB4C-CA58677BB6D6}" srcOrd="0" destOrd="0" presId="urn:microsoft.com/office/officeart/2005/8/layout/process4"/>
    <dgm:cxn modelId="{39670190-E353-461E-A05E-221C8FD00387}" srcId="{A27FFEC0-76FB-4EED-BD60-7716D0EBC473}" destId="{3A94C3E6-F8AB-4D20-9B21-285A1B59B908}" srcOrd="2" destOrd="0" parTransId="{860A8E67-86EA-403B-B9AD-867F2C3A5EA5}" sibTransId="{94887048-9F7C-4B4B-BDC4-49F5ADAFE61B}"/>
    <dgm:cxn modelId="{CCB2FBAC-ABB3-4B52-97BB-0D286A38682B}" srcId="{A27FFEC0-76FB-4EED-BD60-7716D0EBC473}" destId="{CD3554D1-D197-4E4D-9CB2-7B5F53F73367}" srcOrd="7" destOrd="0" parTransId="{83488313-C343-4E41-88A8-9DB84752EBAA}" sibTransId="{8516D27F-8A19-472C-9D30-5331C055AE0F}"/>
    <dgm:cxn modelId="{0B22D7B9-9AC7-420D-B084-4003D425DBFC}" type="presOf" srcId="{A921E2E9-B4E2-479D-B3EF-E773C30D9C69}" destId="{09102370-956A-4F40-B23D-E64FFF926E00}" srcOrd="0" destOrd="0" presId="urn:microsoft.com/office/officeart/2005/8/layout/process4"/>
    <dgm:cxn modelId="{150664C5-5D37-436A-9279-303A8EB4501A}" srcId="{A27FFEC0-76FB-4EED-BD60-7716D0EBC473}" destId="{5DB937FC-2643-4664-90C2-B44956CA20FA}" srcOrd="5" destOrd="0" parTransId="{76E4EA7F-F65F-41F6-AE2F-40C7AD33BA22}" sibTransId="{58914318-F352-4B22-954E-1B81F9147807}"/>
    <dgm:cxn modelId="{4CB06CC7-92EA-42DF-9A75-ADE3CD9EAEFD}" srcId="{A27FFEC0-76FB-4EED-BD60-7716D0EBC473}" destId="{A921E2E9-B4E2-479D-B3EF-E773C30D9C69}" srcOrd="1" destOrd="0" parTransId="{931A4592-925E-43C0-BEE6-71900EC08051}" sibTransId="{631D4AD6-12AC-47A9-8FB6-2BFB24DEE5E1}"/>
    <dgm:cxn modelId="{2BECBFDD-A9B3-4C23-AFEB-ED3F917ACBBF}" srcId="{A27FFEC0-76FB-4EED-BD60-7716D0EBC473}" destId="{F3557A63-A622-4151-8820-70F63C3571EF}" srcOrd="3" destOrd="0" parTransId="{B8CB061C-49A4-46C9-B9E7-345BC6BB7D0D}" sibTransId="{F4CB88FF-3A0E-408C-B238-DE63D78ED457}"/>
    <dgm:cxn modelId="{97662DE9-F04A-4692-8E95-B22CB232E5BA}" type="presOf" srcId="{D96ACB3A-8ADE-4C88-8F28-811B0FD66FAC}" destId="{B1A47B7A-71B5-4561-AFBD-08E297D7CCE1}" srcOrd="0" destOrd="0" presId="urn:microsoft.com/office/officeart/2005/8/layout/process4"/>
    <dgm:cxn modelId="{B6C164FD-EF67-46C5-816C-B6F78CA199D7}" type="presOf" srcId="{A27FFEC0-76FB-4EED-BD60-7716D0EBC473}" destId="{6B0F62E6-3645-4CC5-94F7-5FDDB56C69A8}" srcOrd="0" destOrd="0" presId="urn:microsoft.com/office/officeart/2005/8/layout/process4"/>
    <dgm:cxn modelId="{C3B12A70-7A53-489F-A1E5-3A47A5F1EB48}" type="presParOf" srcId="{6B0F62E6-3645-4CC5-94F7-5FDDB56C69A8}" destId="{6C2C8714-9381-4EF0-9360-735D9F52D208}" srcOrd="0" destOrd="0" presId="urn:microsoft.com/office/officeart/2005/8/layout/process4"/>
    <dgm:cxn modelId="{4AD85C05-6B84-498E-A7E1-C2AD11AB70D9}" type="presParOf" srcId="{6C2C8714-9381-4EF0-9360-735D9F52D208}" destId="{4E50911E-B88C-48E5-8D68-02FD750C2171}" srcOrd="0" destOrd="0" presId="urn:microsoft.com/office/officeart/2005/8/layout/process4"/>
    <dgm:cxn modelId="{F9D19DA1-4D42-4D67-9859-3E077A8004D0}" type="presParOf" srcId="{6B0F62E6-3645-4CC5-94F7-5FDDB56C69A8}" destId="{1734CFF9-8643-486B-9431-0ACCC33F0B76}" srcOrd="1" destOrd="0" presId="urn:microsoft.com/office/officeart/2005/8/layout/process4"/>
    <dgm:cxn modelId="{FECACE18-DFD8-4AF4-B26C-A3A1B04A9130}" type="presParOf" srcId="{6B0F62E6-3645-4CC5-94F7-5FDDB56C69A8}" destId="{E83C446B-8B30-43F6-A9E6-D636E1F068B1}" srcOrd="2" destOrd="0" presId="urn:microsoft.com/office/officeart/2005/8/layout/process4"/>
    <dgm:cxn modelId="{71624400-035D-42CA-BB94-24A2F57965E4}" type="presParOf" srcId="{E83C446B-8B30-43F6-A9E6-D636E1F068B1}" destId="{7AD70EA0-3B9B-48C4-A8F8-A3D3922A0EF6}" srcOrd="0" destOrd="0" presId="urn:microsoft.com/office/officeart/2005/8/layout/process4"/>
    <dgm:cxn modelId="{ABA8131C-95E0-4CBE-A89F-EBA8D6184731}" type="presParOf" srcId="{6B0F62E6-3645-4CC5-94F7-5FDDB56C69A8}" destId="{902A0184-1E19-454B-B4DB-4AC5402C985E}" srcOrd="3" destOrd="0" presId="urn:microsoft.com/office/officeart/2005/8/layout/process4"/>
    <dgm:cxn modelId="{1BA7CD10-8AA1-45A4-B402-D684B4BFA0E9}" type="presParOf" srcId="{6B0F62E6-3645-4CC5-94F7-5FDDB56C69A8}" destId="{E2BC1A2A-2046-4A2C-87BC-4BA4EB08CEA5}" srcOrd="4" destOrd="0" presId="urn:microsoft.com/office/officeart/2005/8/layout/process4"/>
    <dgm:cxn modelId="{D7741904-6BC7-45F8-8DFE-D2CB864E81D9}" type="presParOf" srcId="{E2BC1A2A-2046-4A2C-87BC-4BA4EB08CEA5}" destId="{0DD5D1AA-5F83-4C64-BE6F-0D43D1DDEF9A}" srcOrd="0" destOrd="0" presId="urn:microsoft.com/office/officeart/2005/8/layout/process4"/>
    <dgm:cxn modelId="{1967A105-C775-47B0-AAF9-87205BBA4397}" type="presParOf" srcId="{6B0F62E6-3645-4CC5-94F7-5FDDB56C69A8}" destId="{A69CFA64-986C-4662-A8F0-BE54EA30D1A6}" srcOrd="5" destOrd="0" presId="urn:microsoft.com/office/officeart/2005/8/layout/process4"/>
    <dgm:cxn modelId="{F753A7F7-9663-4397-ADD5-54F803C3CCCA}" type="presParOf" srcId="{6B0F62E6-3645-4CC5-94F7-5FDDB56C69A8}" destId="{4782F81E-987A-47D5-9C38-0C1D9AAEE565}" srcOrd="6" destOrd="0" presId="urn:microsoft.com/office/officeart/2005/8/layout/process4"/>
    <dgm:cxn modelId="{F2976DCC-0E7B-4CFD-B7A5-78E69C8C11FA}" type="presParOf" srcId="{4782F81E-987A-47D5-9C38-0C1D9AAEE565}" destId="{B1A47B7A-71B5-4561-AFBD-08E297D7CCE1}" srcOrd="0" destOrd="0" presId="urn:microsoft.com/office/officeart/2005/8/layout/process4"/>
    <dgm:cxn modelId="{36FE5067-D48A-4832-87B6-D042A078E54F}" type="presParOf" srcId="{6B0F62E6-3645-4CC5-94F7-5FDDB56C69A8}" destId="{8DADAB3A-5FDF-4E78-BCB8-9DDF470C5CC1}" srcOrd="7" destOrd="0" presId="urn:microsoft.com/office/officeart/2005/8/layout/process4"/>
    <dgm:cxn modelId="{7391DE30-4113-4F81-B697-B4A4732EEBA1}" type="presParOf" srcId="{6B0F62E6-3645-4CC5-94F7-5FDDB56C69A8}" destId="{5E1EC230-D228-4223-B082-D2341E0B6F0E}" srcOrd="8" destOrd="0" presId="urn:microsoft.com/office/officeart/2005/8/layout/process4"/>
    <dgm:cxn modelId="{9456F2F1-0149-4E9C-B7E3-268DEAF8BEEC}" type="presParOf" srcId="{5E1EC230-D228-4223-B082-D2341E0B6F0E}" destId="{EDC02030-B7F8-48D1-BD54-047D9DA32A6C}" srcOrd="0" destOrd="0" presId="urn:microsoft.com/office/officeart/2005/8/layout/process4"/>
    <dgm:cxn modelId="{EB7CB1A5-8799-4F5D-A9F5-1C3CCF71104D}" type="presParOf" srcId="{6B0F62E6-3645-4CC5-94F7-5FDDB56C69A8}" destId="{0CE6D25A-ECA8-49F6-892A-EC04C8A05839}" srcOrd="9" destOrd="0" presId="urn:microsoft.com/office/officeart/2005/8/layout/process4"/>
    <dgm:cxn modelId="{B248531B-F6B8-4727-BF42-D831B9BE1FD2}" type="presParOf" srcId="{6B0F62E6-3645-4CC5-94F7-5FDDB56C69A8}" destId="{05F27F60-B851-4879-A1FB-C8FBBC0F4E7D}" srcOrd="10" destOrd="0" presId="urn:microsoft.com/office/officeart/2005/8/layout/process4"/>
    <dgm:cxn modelId="{44EDC076-77A2-44AF-94C1-BD5301D87B86}" type="presParOf" srcId="{05F27F60-B851-4879-A1FB-C8FBBC0F4E7D}" destId="{316D7AC8-D37E-4A35-AB4C-CA58677BB6D6}" srcOrd="0" destOrd="0" presId="urn:microsoft.com/office/officeart/2005/8/layout/process4"/>
    <dgm:cxn modelId="{A1984698-9EF2-4F49-BEF4-AE70DAF27AA4}" type="presParOf" srcId="{6B0F62E6-3645-4CC5-94F7-5FDDB56C69A8}" destId="{F20FAE72-3C16-4687-94AA-212CE4EED2EC}" srcOrd="11" destOrd="0" presId="urn:microsoft.com/office/officeart/2005/8/layout/process4"/>
    <dgm:cxn modelId="{161677A7-7CDA-4C93-B5EC-F94949CD279D}" type="presParOf" srcId="{6B0F62E6-3645-4CC5-94F7-5FDDB56C69A8}" destId="{7F92EA00-B95C-4767-83E1-6C10007B1BBE}" srcOrd="12" destOrd="0" presId="urn:microsoft.com/office/officeart/2005/8/layout/process4"/>
    <dgm:cxn modelId="{9BA875AC-FC3B-4C39-8EE1-ED7749FD7D82}" type="presParOf" srcId="{7F92EA00-B95C-4767-83E1-6C10007B1BBE}" destId="{09102370-956A-4F40-B23D-E64FFF926E00}" srcOrd="0" destOrd="0" presId="urn:microsoft.com/office/officeart/2005/8/layout/process4"/>
    <dgm:cxn modelId="{5188E62A-C7A2-488D-8347-5F82BB4B2561}" type="presParOf" srcId="{6B0F62E6-3645-4CC5-94F7-5FDDB56C69A8}" destId="{C6B71132-9EA2-4EB2-B33F-5DB543809F68}" srcOrd="13" destOrd="0" presId="urn:microsoft.com/office/officeart/2005/8/layout/process4"/>
    <dgm:cxn modelId="{BF46AC4C-6EBF-48A2-807A-7BABD8CDB2E2}" type="presParOf" srcId="{6B0F62E6-3645-4CC5-94F7-5FDDB56C69A8}" destId="{629F3CF9-0F11-46D4-BDBE-A76079A252C7}" srcOrd="14" destOrd="0" presId="urn:microsoft.com/office/officeart/2005/8/layout/process4"/>
    <dgm:cxn modelId="{2EC56940-EB04-45D7-B277-875FD1AA1F83}" type="presParOf" srcId="{629F3CF9-0F11-46D4-BDBE-A76079A252C7}" destId="{1BB428C8-D024-4700-B04A-32C1C73953E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5E901C0-2FF8-484A-BFED-CFFB6C54E87D}" type="doc">
      <dgm:prSet loTypeId="urn:microsoft.com/office/officeart/2005/8/layout/vList5" loCatId="list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8D4BB6D-BE45-406F-8FDF-44341BF67123}">
      <dgm:prSet custT="1"/>
      <dgm:spPr>
        <a:solidFill>
          <a:srgbClr val="69ADE7"/>
        </a:solidFill>
      </dgm:spPr>
      <dgm:t>
        <a:bodyPr/>
        <a:lstStyle/>
        <a:p>
          <a:pPr algn="ctr"/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renciar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a </a:t>
          </a:r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quipe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o </a:t>
          </a:r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jeto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:</a:t>
          </a:r>
        </a:p>
      </dgm:t>
    </dgm:pt>
    <dgm:pt modelId="{8E6C8E34-623C-4C70-8017-70BF30FBF0A9}" type="parTrans" cxnId="{7E1A93C8-4437-4333-9995-6C22C6BE6E0D}">
      <dgm:prSet/>
      <dgm:spPr/>
      <dgm:t>
        <a:bodyPr/>
        <a:lstStyle/>
        <a:p>
          <a:endParaRPr lang="en-US"/>
        </a:p>
      </dgm:t>
    </dgm:pt>
    <dgm:pt modelId="{36567670-646D-4CF6-A2C0-E980C771C325}" type="sibTrans" cxnId="{7E1A93C8-4437-4333-9995-6C22C6BE6E0D}">
      <dgm:prSet/>
      <dgm:spPr/>
      <dgm:t>
        <a:bodyPr/>
        <a:lstStyle/>
        <a:p>
          <a:endParaRPr lang="en-US"/>
        </a:p>
      </dgm:t>
    </dgm:pt>
    <dgm:pt modelId="{232C28E0-8C8D-4BBE-B396-B64FE09D522D}">
      <dgm:prSet custT="1"/>
      <dgm:spPr>
        <a:solidFill>
          <a:schemeClr val="bg1">
            <a:lumMod val="85000"/>
            <a:alpha val="90000"/>
          </a:schemeClr>
        </a:solidFill>
      </dgm:spPr>
      <dgm:t>
        <a:bodyPr/>
        <a:lstStyle/>
        <a:p>
          <a:pPr marL="536575" indent="-536575">
            <a:buClr>
              <a:srgbClr val="69ADE7"/>
            </a:buClr>
          </a:pPr>
          <a:r>
            <a:rPr lang="en-US" sz="3100" b="0" dirty="0" err="1"/>
            <a:t>Montar</a:t>
          </a:r>
          <a:r>
            <a:rPr lang="en-US" sz="3100" b="0" dirty="0"/>
            <a:t> o </a:t>
          </a:r>
          <a:r>
            <a:rPr lang="en-US" sz="3100" b="0" dirty="0" err="1"/>
            <a:t>grupo</a:t>
          </a:r>
          <a:r>
            <a:rPr lang="en-US" sz="3100" b="0" dirty="0"/>
            <a:t> e </a:t>
          </a:r>
          <a:r>
            <a:rPr lang="en-US" sz="3100" b="0" dirty="0" err="1"/>
            <a:t>transformá</a:t>
          </a:r>
          <a:r>
            <a:rPr lang="en-US" sz="3100" b="0" dirty="0"/>
            <a:t>-lo </a:t>
          </a:r>
          <a:r>
            <a:rPr lang="en-US" sz="3100" b="0" dirty="0" err="1"/>
            <a:t>em</a:t>
          </a:r>
          <a:r>
            <a:rPr lang="en-US" sz="3100" b="0" dirty="0"/>
            <a:t> um time.</a:t>
          </a:r>
        </a:p>
      </dgm:t>
    </dgm:pt>
    <dgm:pt modelId="{24240BA0-E075-4BD2-9E1F-CCA629E19679}" type="parTrans" cxnId="{22CC8E04-2160-4AF6-9D8B-257CF300045D}">
      <dgm:prSet/>
      <dgm:spPr/>
      <dgm:t>
        <a:bodyPr/>
        <a:lstStyle/>
        <a:p>
          <a:endParaRPr lang="en-US"/>
        </a:p>
      </dgm:t>
    </dgm:pt>
    <dgm:pt modelId="{F34D9C0A-47E8-4888-966A-1DB926FD649A}" type="sibTrans" cxnId="{22CC8E04-2160-4AF6-9D8B-257CF300045D}">
      <dgm:prSet/>
      <dgm:spPr/>
      <dgm:t>
        <a:bodyPr/>
        <a:lstStyle/>
        <a:p>
          <a:endParaRPr lang="en-US"/>
        </a:p>
      </dgm:t>
    </dgm:pt>
    <dgm:pt modelId="{DC92E586-BE1C-42CC-8A50-B92E1069CD01}">
      <dgm:prSet custT="1"/>
      <dgm:spPr>
        <a:solidFill>
          <a:srgbClr val="69ADE7"/>
        </a:solidFill>
      </dgm:spPr>
      <dgm:t>
        <a:bodyPr/>
        <a:lstStyle/>
        <a:p>
          <a:pPr algn="ctr"/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renciar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cnicamente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b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 </a:t>
          </a:r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jeto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:</a:t>
          </a:r>
        </a:p>
      </dgm:t>
    </dgm:pt>
    <dgm:pt modelId="{95626407-FD59-44AE-AAC7-7A2E3983E0EA}" type="parTrans" cxnId="{9F3E2539-F265-416F-8A3D-975284828967}">
      <dgm:prSet/>
      <dgm:spPr/>
      <dgm:t>
        <a:bodyPr/>
        <a:lstStyle/>
        <a:p>
          <a:endParaRPr lang="en-US"/>
        </a:p>
      </dgm:t>
    </dgm:pt>
    <dgm:pt modelId="{027BB3A0-5730-47D6-A2DD-17D5D2612B6F}" type="sibTrans" cxnId="{9F3E2539-F265-416F-8A3D-975284828967}">
      <dgm:prSet/>
      <dgm:spPr/>
      <dgm:t>
        <a:bodyPr/>
        <a:lstStyle/>
        <a:p>
          <a:endParaRPr lang="en-US"/>
        </a:p>
      </dgm:t>
    </dgm:pt>
    <dgm:pt modelId="{5F2C96DA-9A83-49FE-B131-FCFA2BEDC750}">
      <dgm:prSet custT="1"/>
      <dgm:spPr>
        <a:solidFill>
          <a:schemeClr val="bg1">
            <a:lumMod val="75000"/>
            <a:alpha val="90000"/>
          </a:schemeClr>
        </a:solidFill>
      </dgm:spPr>
      <dgm:t>
        <a:bodyPr/>
        <a:lstStyle/>
        <a:p>
          <a:pPr marL="536575" indent="-536575">
            <a:buClr>
              <a:srgbClr val="69ADE7"/>
            </a:buClr>
          </a:pPr>
          <a:r>
            <a:rPr lang="en-US" sz="3100" dirty="0" err="1"/>
            <a:t>Definir</a:t>
          </a:r>
          <a:r>
            <a:rPr lang="en-US" sz="3100" dirty="0"/>
            <a:t> </a:t>
          </a:r>
          <a:r>
            <a:rPr lang="en-US" sz="3100" dirty="0" err="1"/>
            <a:t>escopo</a:t>
          </a:r>
          <a:r>
            <a:rPr lang="en-US" sz="3100" dirty="0"/>
            <a:t>, </a:t>
          </a:r>
          <a:r>
            <a:rPr lang="en-US" sz="3100" dirty="0" err="1"/>
            <a:t>prazos</a:t>
          </a:r>
          <a:r>
            <a:rPr lang="en-US" sz="3100" dirty="0"/>
            <a:t>, </a:t>
          </a:r>
          <a:r>
            <a:rPr lang="en-US" sz="3100" dirty="0" err="1"/>
            <a:t>qualidade</a:t>
          </a:r>
          <a:r>
            <a:rPr lang="en-US" sz="3100" dirty="0"/>
            <a:t>, custos.</a:t>
          </a:r>
        </a:p>
      </dgm:t>
    </dgm:pt>
    <dgm:pt modelId="{055A5EF2-8F86-48AA-AD9F-D979F610EE95}" type="parTrans" cxnId="{8900D693-C8C1-4288-8692-9AA58C4286F1}">
      <dgm:prSet/>
      <dgm:spPr/>
      <dgm:t>
        <a:bodyPr/>
        <a:lstStyle/>
        <a:p>
          <a:endParaRPr lang="en-US"/>
        </a:p>
      </dgm:t>
    </dgm:pt>
    <dgm:pt modelId="{FFABF72D-CE10-4DB3-957E-BFE7A4B9A26F}" type="sibTrans" cxnId="{8900D693-C8C1-4288-8692-9AA58C4286F1}">
      <dgm:prSet/>
      <dgm:spPr/>
      <dgm:t>
        <a:bodyPr/>
        <a:lstStyle/>
        <a:p>
          <a:endParaRPr lang="en-US"/>
        </a:p>
      </dgm:t>
    </dgm:pt>
    <dgm:pt modelId="{5920FF9C-03A8-457D-BB1B-631039973F23}">
      <dgm:prSet custT="1"/>
      <dgm:spPr>
        <a:solidFill>
          <a:srgbClr val="69ADE7"/>
        </a:solidFill>
      </dgm:spPr>
      <dgm:t>
        <a:bodyPr/>
        <a:lstStyle/>
        <a:p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renciar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a </a:t>
          </a:r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stratégia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b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o </a:t>
          </a:r>
          <a:r>
            <a:rPr lang="en-US" sz="31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jeto</a:t>
          </a:r>
          <a:r>
            <a:rPr lang="en-US" sz="3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:</a:t>
          </a:r>
        </a:p>
      </dgm:t>
    </dgm:pt>
    <dgm:pt modelId="{F5CA0ABF-11E7-403B-9EBE-AE7D38D3B5DC}" type="parTrans" cxnId="{33499E48-DD50-497C-A30A-0943A459C7A3}">
      <dgm:prSet/>
      <dgm:spPr/>
      <dgm:t>
        <a:bodyPr/>
        <a:lstStyle/>
        <a:p>
          <a:endParaRPr lang="en-US"/>
        </a:p>
      </dgm:t>
    </dgm:pt>
    <dgm:pt modelId="{1AB1A653-7291-49D1-BAE3-5E66055B557B}" type="sibTrans" cxnId="{33499E48-DD50-497C-A30A-0943A459C7A3}">
      <dgm:prSet/>
      <dgm:spPr/>
      <dgm:t>
        <a:bodyPr/>
        <a:lstStyle/>
        <a:p>
          <a:endParaRPr lang="en-US"/>
        </a:p>
      </dgm:t>
    </dgm:pt>
    <dgm:pt modelId="{C97123E6-CAC0-423D-AF3B-763C5B78E4EB}">
      <dgm:prSet custT="1"/>
      <dgm:spPr>
        <a:solidFill>
          <a:schemeClr val="bg1">
            <a:lumMod val="65000"/>
            <a:alpha val="90000"/>
          </a:schemeClr>
        </a:solidFill>
      </dgm:spPr>
      <dgm:t>
        <a:bodyPr/>
        <a:lstStyle/>
        <a:p>
          <a:pPr marL="536575" indent="-536575">
            <a:buClr>
              <a:srgbClr val="69ADE7"/>
            </a:buClr>
          </a:pPr>
          <a:r>
            <a:rPr lang="en-US" sz="3100" dirty="0"/>
            <a:t>Lidar com </a:t>
          </a:r>
          <a:r>
            <a:rPr lang="en-US" sz="3100" dirty="0" err="1"/>
            <a:t>os</a:t>
          </a:r>
          <a:r>
            <a:rPr lang="en-US" sz="3100" dirty="0"/>
            <a:t> </a:t>
          </a:r>
          <a:r>
            <a:rPr lang="en-US" sz="3100" dirty="0" err="1"/>
            <a:t>conflitos</a:t>
          </a:r>
          <a:r>
            <a:rPr lang="en-US" sz="3100" dirty="0"/>
            <a:t> e com </a:t>
          </a:r>
          <a:br>
            <a:rPr lang="en-US" sz="3100" dirty="0"/>
          </a:br>
          <a:r>
            <a:rPr lang="en-US" sz="3100" dirty="0"/>
            <a:t>as </a:t>
          </a:r>
          <a:r>
            <a:rPr lang="pt-BR" sz="3100" noProof="0" dirty="0"/>
            <a:t>resistências.</a:t>
          </a:r>
        </a:p>
      </dgm:t>
    </dgm:pt>
    <dgm:pt modelId="{7AC10E34-D4D7-44B2-9A7A-153B5E2C2D9E}" type="parTrans" cxnId="{9651D5E4-AD09-472F-90B3-EF61FFD1A200}">
      <dgm:prSet/>
      <dgm:spPr/>
      <dgm:t>
        <a:bodyPr/>
        <a:lstStyle/>
        <a:p>
          <a:endParaRPr lang="en-US"/>
        </a:p>
      </dgm:t>
    </dgm:pt>
    <dgm:pt modelId="{9805EF5A-2B41-4C88-AE72-D91C9C520320}" type="sibTrans" cxnId="{9651D5E4-AD09-472F-90B3-EF61FFD1A200}">
      <dgm:prSet/>
      <dgm:spPr/>
      <dgm:t>
        <a:bodyPr/>
        <a:lstStyle/>
        <a:p>
          <a:endParaRPr lang="en-US"/>
        </a:p>
      </dgm:t>
    </dgm:pt>
    <dgm:pt modelId="{D9656CCD-3056-4F3F-87FF-0388D7F73D83}" type="pres">
      <dgm:prSet presAssocID="{75E901C0-2FF8-484A-BFED-CFFB6C54E87D}" presName="Name0" presStyleCnt="0">
        <dgm:presLayoutVars>
          <dgm:dir/>
          <dgm:animLvl val="lvl"/>
          <dgm:resizeHandles val="exact"/>
        </dgm:presLayoutVars>
      </dgm:prSet>
      <dgm:spPr/>
    </dgm:pt>
    <dgm:pt modelId="{219053B4-2012-47ED-86D1-9190DA518713}" type="pres">
      <dgm:prSet presAssocID="{48D4BB6D-BE45-406F-8FDF-44341BF67123}" presName="linNode" presStyleCnt="0"/>
      <dgm:spPr/>
    </dgm:pt>
    <dgm:pt modelId="{63E9AA30-8F7B-4226-B407-A8005CEF8201}" type="pres">
      <dgm:prSet presAssocID="{48D4BB6D-BE45-406F-8FDF-44341BF67123}" presName="parentText" presStyleLbl="node1" presStyleIdx="0" presStyleCnt="3" custLinFactNeighborX="-13260" custLinFactNeighborY="-27562">
        <dgm:presLayoutVars>
          <dgm:chMax val="1"/>
          <dgm:bulletEnabled val="1"/>
        </dgm:presLayoutVars>
      </dgm:prSet>
      <dgm:spPr/>
    </dgm:pt>
    <dgm:pt modelId="{0C97E5D3-5956-438B-B351-C3DD88C30F4E}" type="pres">
      <dgm:prSet presAssocID="{48D4BB6D-BE45-406F-8FDF-44341BF67123}" presName="descendantText" presStyleLbl="alignAccFollowNode1" presStyleIdx="0" presStyleCnt="3">
        <dgm:presLayoutVars>
          <dgm:bulletEnabled val="1"/>
        </dgm:presLayoutVars>
      </dgm:prSet>
      <dgm:spPr/>
    </dgm:pt>
    <dgm:pt modelId="{75FF0050-D416-4699-B537-7EDB5BDA96E8}" type="pres">
      <dgm:prSet presAssocID="{36567670-646D-4CF6-A2C0-E980C771C325}" presName="sp" presStyleCnt="0"/>
      <dgm:spPr/>
    </dgm:pt>
    <dgm:pt modelId="{8F2F0D9D-6468-4C5D-B7D7-8AAA35D1C373}" type="pres">
      <dgm:prSet presAssocID="{DC92E586-BE1C-42CC-8A50-B92E1069CD01}" presName="linNode" presStyleCnt="0"/>
      <dgm:spPr/>
    </dgm:pt>
    <dgm:pt modelId="{6119235D-34E0-4387-99EB-30CD9465B3C1}" type="pres">
      <dgm:prSet presAssocID="{DC92E586-BE1C-42CC-8A50-B92E1069CD01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A0D5F9FF-DE9D-440E-9BA7-6FF2DA5A28DE}" type="pres">
      <dgm:prSet presAssocID="{DC92E586-BE1C-42CC-8A50-B92E1069CD01}" presName="descendantText" presStyleLbl="alignAccFollowNode1" presStyleIdx="1" presStyleCnt="3">
        <dgm:presLayoutVars>
          <dgm:bulletEnabled val="1"/>
        </dgm:presLayoutVars>
      </dgm:prSet>
      <dgm:spPr/>
    </dgm:pt>
    <dgm:pt modelId="{45E3E5E9-AA10-4839-9AC8-9AEABA423D05}" type="pres">
      <dgm:prSet presAssocID="{027BB3A0-5730-47D6-A2DD-17D5D2612B6F}" presName="sp" presStyleCnt="0"/>
      <dgm:spPr/>
    </dgm:pt>
    <dgm:pt modelId="{D2DAC9CF-1C4E-4F67-9283-0730E14C2C97}" type="pres">
      <dgm:prSet presAssocID="{5920FF9C-03A8-457D-BB1B-631039973F23}" presName="linNode" presStyleCnt="0"/>
      <dgm:spPr/>
    </dgm:pt>
    <dgm:pt modelId="{4EBED148-2FFF-42E5-BD1E-AA140D19FE60}" type="pres">
      <dgm:prSet presAssocID="{5920FF9C-03A8-457D-BB1B-631039973F23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6B5B1F0C-9B44-4CAE-968E-CCCE82B46C36}" type="pres">
      <dgm:prSet presAssocID="{5920FF9C-03A8-457D-BB1B-631039973F23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22CC8E04-2160-4AF6-9D8B-257CF300045D}" srcId="{48D4BB6D-BE45-406F-8FDF-44341BF67123}" destId="{232C28E0-8C8D-4BBE-B396-B64FE09D522D}" srcOrd="0" destOrd="0" parTransId="{24240BA0-E075-4BD2-9E1F-CCA629E19679}" sibTransId="{F34D9C0A-47E8-4888-966A-1DB926FD649A}"/>
    <dgm:cxn modelId="{7D6E1E13-E300-4C4C-BD47-B2C0B796526D}" type="presOf" srcId="{48D4BB6D-BE45-406F-8FDF-44341BF67123}" destId="{63E9AA30-8F7B-4226-B407-A8005CEF8201}" srcOrd="0" destOrd="0" presId="urn:microsoft.com/office/officeart/2005/8/layout/vList5"/>
    <dgm:cxn modelId="{F3D4D51E-19B3-4724-B46A-F1CD187F8AF5}" type="presOf" srcId="{5920FF9C-03A8-457D-BB1B-631039973F23}" destId="{4EBED148-2FFF-42E5-BD1E-AA140D19FE60}" srcOrd="0" destOrd="0" presId="urn:microsoft.com/office/officeart/2005/8/layout/vList5"/>
    <dgm:cxn modelId="{D7103726-9DDC-4379-B51F-C55F6F00F265}" type="presOf" srcId="{75E901C0-2FF8-484A-BFED-CFFB6C54E87D}" destId="{D9656CCD-3056-4F3F-87FF-0388D7F73D83}" srcOrd="0" destOrd="0" presId="urn:microsoft.com/office/officeart/2005/8/layout/vList5"/>
    <dgm:cxn modelId="{9F3E2539-F265-416F-8A3D-975284828967}" srcId="{75E901C0-2FF8-484A-BFED-CFFB6C54E87D}" destId="{DC92E586-BE1C-42CC-8A50-B92E1069CD01}" srcOrd="1" destOrd="0" parTransId="{95626407-FD59-44AE-AAC7-7A2E3983E0EA}" sibTransId="{027BB3A0-5730-47D6-A2DD-17D5D2612B6F}"/>
    <dgm:cxn modelId="{33499E48-DD50-497C-A30A-0943A459C7A3}" srcId="{75E901C0-2FF8-484A-BFED-CFFB6C54E87D}" destId="{5920FF9C-03A8-457D-BB1B-631039973F23}" srcOrd="2" destOrd="0" parTransId="{F5CA0ABF-11E7-403B-9EBE-AE7D38D3B5DC}" sibTransId="{1AB1A653-7291-49D1-BAE3-5E66055B557B}"/>
    <dgm:cxn modelId="{078BBD6F-F16D-4591-9A81-6FBEEA8F0F6B}" type="presOf" srcId="{DC92E586-BE1C-42CC-8A50-B92E1069CD01}" destId="{6119235D-34E0-4387-99EB-30CD9465B3C1}" srcOrd="0" destOrd="0" presId="urn:microsoft.com/office/officeart/2005/8/layout/vList5"/>
    <dgm:cxn modelId="{A15BA585-B4F1-41DF-B7B3-ED788D1EB025}" type="presOf" srcId="{232C28E0-8C8D-4BBE-B396-B64FE09D522D}" destId="{0C97E5D3-5956-438B-B351-C3DD88C30F4E}" srcOrd="0" destOrd="0" presId="urn:microsoft.com/office/officeart/2005/8/layout/vList5"/>
    <dgm:cxn modelId="{8900D693-C8C1-4288-8692-9AA58C4286F1}" srcId="{DC92E586-BE1C-42CC-8A50-B92E1069CD01}" destId="{5F2C96DA-9A83-49FE-B131-FCFA2BEDC750}" srcOrd="0" destOrd="0" parTransId="{055A5EF2-8F86-48AA-AD9F-D979F610EE95}" sibTransId="{FFABF72D-CE10-4DB3-957E-BFE7A4B9A26F}"/>
    <dgm:cxn modelId="{7E1A93C8-4437-4333-9995-6C22C6BE6E0D}" srcId="{75E901C0-2FF8-484A-BFED-CFFB6C54E87D}" destId="{48D4BB6D-BE45-406F-8FDF-44341BF67123}" srcOrd="0" destOrd="0" parTransId="{8E6C8E34-623C-4C70-8017-70BF30FBF0A9}" sibTransId="{36567670-646D-4CF6-A2C0-E980C771C325}"/>
    <dgm:cxn modelId="{EDA2EACF-EF0F-4FAA-B127-75C129817933}" type="presOf" srcId="{C97123E6-CAC0-423D-AF3B-763C5B78E4EB}" destId="{6B5B1F0C-9B44-4CAE-968E-CCCE82B46C36}" srcOrd="0" destOrd="0" presId="urn:microsoft.com/office/officeart/2005/8/layout/vList5"/>
    <dgm:cxn modelId="{9651D5E4-AD09-472F-90B3-EF61FFD1A200}" srcId="{5920FF9C-03A8-457D-BB1B-631039973F23}" destId="{C97123E6-CAC0-423D-AF3B-763C5B78E4EB}" srcOrd="0" destOrd="0" parTransId="{7AC10E34-D4D7-44B2-9A7A-153B5E2C2D9E}" sibTransId="{9805EF5A-2B41-4C88-AE72-D91C9C520320}"/>
    <dgm:cxn modelId="{210BF8F8-2916-42C6-8216-5E51BF767F8F}" type="presOf" srcId="{5F2C96DA-9A83-49FE-B131-FCFA2BEDC750}" destId="{A0D5F9FF-DE9D-440E-9BA7-6FF2DA5A28DE}" srcOrd="0" destOrd="0" presId="urn:microsoft.com/office/officeart/2005/8/layout/vList5"/>
    <dgm:cxn modelId="{2DE41058-D52A-4A00-8A32-A3A77F8EE70D}" type="presParOf" srcId="{D9656CCD-3056-4F3F-87FF-0388D7F73D83}" destId="{219053B4-2012-47ED-86D1-9190DA518713}" srcOrd="0" destOrd="0" presId="urn:microsoft.com/office/officeart/2005/8/layout/vList5"/>
    <dgm:cxn modelId="{36B2273A-12F4-451D-9A8E-FF77410C7E7D}" type="presParOf" srcId="{219053B4-2012-47ED-86D1-9190DA518713}" destId="{63E9AA30-8F7B-4226-B407-A8005CEF8201}" srcOrd="0" destOrd="0" presId="urn:microsoft.com/office/officeart/2005/8/layout/vList5"/>
    <dgm:cxn modelId="{0911D6E1-A134-4637-BC5F-235E74EFDDAF}" type="presParOf" srcId="{219053B4-2012-47ED-86D1-9190DA518713}" destId="{0C97E5D3-5956-438B-B351-C3DD88C30F4E}" srcOrd="1" destOrd="0" presId="urn:microsoft.com/office/officeart/2005/8/layout/vList5"/>
    <dgm:cxn modelId="{C9D0F7A4-7E59-4379-9592-ECA8448AC742}" type="presParOf" srcId="{D9656CCD-3056-4F3F-87FF-0388D7F73D83}" destId="{75FF0050-D416-4699-B537-7EDB5BDA96E8}" srcOrd="1" destOrd="0" presId="urn:microsoft.com/office/officeart/2005/8/layout/vList5"/>
    <dgm:cxn modelId="{8AD569C0-DD4D-49CD-96DA-C466E55AB08B}" type="presParOf" srcId="{D9656CCD-3056-4F3F-87FF-0388D7F73D83}" destId="{8F2F0D9D-6468-4C5D-B7D7-8AAA35D1C373}" srcOrd="2" destOrd="0" presId="urn:microsoft.com/office/officeart/2005/8/layout/vList5"/>
    <dgm:cxn modelId="{EAF4B91D-0D1C-46FD-9E06-E261B0A133CF}" type="presParOf" srcId="{8F2F0D9D-6468-4C5D-B7D7-8AAA35D1C373}" destId="{6119235D-34E0-4387-99EB-30CD9465B3C1}" srcOrd="0" destOrd="0" presId="urn:microsoft.com/office/officeart/2005/8/layout/vList5"/>
    <dgm:cxn modelId="{88403811-8BB2-4E66-8A7E-B72041DC209F}" type="presParOf" srcId="{8F2F0D9D-6468-4C5D-B7D7-8AAA35D1C373}" destId="{A0D5F9FF-DE9D-440E-9BA7-6FF2DA5A28DE}" srcOrd="1" destOrd="0" presId="urn:microsoft.com/office/officeart/2005/8/layout/vList5"/>
    <dgm:cxn modelId="{666EAACE-52EF-4264-B314-ACC09A944288}" type="presParOf" srcId="{D9656CCD-3056-4F3F-87FF-0388D7F73D83}" destId="{45E3E5E9-AA10-4839-9AC8-9AEABA423D05}" srcOrd="3" destOrd="0" presId="urn:microsoft.com/office/officeart/2005/8/layout/vList5"/>
    <dgm:cxn modelId="{4B7DD71E-2492-45B3-B2C9-3448F825042D}" type="presParOf" srcId="{D9656CCD-3056-4F3F-87FF-0388D7F73D83}" destId="{D2DAC9CF-1C4E-4F67-9283-0730E14C2C97}" srcOrd="4" destOrd="0" presId="urn:microsoft.com/office/officeart/2005/8/layout/vList5"/>
    <dgm:cxn modelId="{63EB112E-E04C-435A-A52D-1B342C0CF438}" type="presParOf" srcId="{D2DAC9CF-1C4E-4F67-9283-0730E14C2C97}" destId="{4EBED148-2FFF-42E5-BD1E-AA140D19FE60}" srcOrd="0" destOrd="0" presId="urn:microsoft.com/office/officeart/2005/8/layout/vList5"/>
    <dgm:cxn modelId="{3FFD86BD-A11D-4A1A-A1ED-66BA6197673E}" type="presParOf" srcId="{D2DAC9CF-1C4E-4F67-9283-0730E14C2C97}" destId="{6B5B1F0C-9B44-4CAE-968E-CCCE82B46C3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98FC0-A270-4E07-89C0-6FF63A03298B}">
      <dsp:nvSpPr>
        <dsp:cNvPr id="0" name=""/>
        <dsp:cNvSpPr/>
      </dsp:nvSpPr>
      <dsp:spPr>
        <a:xfrm>
          <a:off x="0" y="4065691"/>
          <a:ext cx="10783491" cy="333586"/>
        </a:xfrm>
        <a:prstGeom prst="rect">
          <a:avLst/>
        </a:prstGeom>
        <a:gradFill rotWithShape="0">
          <a:gsLst>
            <a:gs pos="0">
              <a:srgbClr val="61D836">
                <a:hueOff val="0"/>
                <a:satOff val="0"/>
                <a:lumOff val="0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Resultados (entregas) estratégicos</a:t>
          </a:r>
        </a:p>
      </dsp:txBody>
      <dsp:txXfrm>
        <a:off x="0" y="4065691"/>
        <a:ext cx="10783491" cy="333586"/>
      </dsp:txXfrm>
    </dsp:sp>
    <dsp:sp modelId="{11B6E446-34E4-4F62-85CE-9AB8297BC0B0}">
      <dsp:nvSpPr>
        <dsp:cNvPr id="0" name=""/>
        <dsp:cNvSpPr/>
      </dsp:nvSpPr>
      <dsp:spPr>
        <a:xfrm rot="10800000">
          <a:off x="0" y="3557638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384557"/>
                <a:satOff val="3467"/>
                <a:lumOff val="735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384557"/>
                <a:satOff val="3467"/>
                <a:lumOff val="735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Objetivos pessoais</a:t>
          </a:r>
        </a:p>
      </dsp:txBody>
      <dsp:txXfrm rot="10800000">
        <a:off x="0" y="3557638"/>
        <a:ext cx="10783491" cy="333368"/>
      </dsp:txXfrm>
    </dsp:sp>
    <dsp:sp modelId="{60408BE2-E338-4538-8F7E-0E7714E816F7}">
      <dsp:nvSpPr>
        <dsp:cNvPr id="0" name=""/>
        <dsp:cNvSpPr/>
      </dsp:nvSpPr>
      <dsp:spPr>
        <a:xfrm rot="10800000">
          <a:off x="0" y="3049586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769113"/>
                <a:satOff val="6934"/>
                <a:lumOff val="1471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769113"/>
                <a:satOff val="6934"/>
                <a:lumOff val="1471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Metas e iniciativas</a:t>
          </a:r>
        </a:p>
      </dsp:txBody>
      <dsp:txXfrm rot="10800000">
        <a:off x="0" y="3049586"/>
        <a:ext cx="10783491" cy="333368"/>
      </dsp:txXfrm>
    </dsp:sp>
    <dsp:sp modelId="{4814EF29-9E73-41F8-B98A-A3B99DBB722C}">
      <dsp:nvSpPr>
        <dsp:cNvPr id="0" name=""/>
        <dsp:cNvSpPr/>
      </dsp:nvSpPr>
      <dsp:spPr>
        <a:xfrm rot="10800000">
          <a:off x="0" y="2541534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1153670"/>
                <a:satOff val="10402"/>
                <a:lumOff val="2206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1153670"/>
                <a:satOff val="10402"/>
                <a:lumOff val="2206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i="1" kern="1200" dirty="0" err="1">
              <a:solidFill>
                <a:srgbClr val="135989"/>
              </a:solidFill>
              <a:latin typeface="Krub Medium"/>
              <a:ea typeface="Verdana"/>
              <a:cs typeface="+mn-cs"/>
            </a:rPr>
            <a:t>Balanced</a:t>
          </a:r>
          <a:r>
            <a:rPr lang="pt-BR" sz="1800" b="1" i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 Scorecard</a:t>
          </a:r>
        </a:p>
      </dsp:txBody>
      <dsp:txXfrm rot="10800000">
        <a:off x="0" y="2541534"/>
        <a:ext cx="10783491" cy="333368"/>
      </dsp:txXfrm>
    </dsp:sp>
    <dsp:sp modelId="{B04E183D-398C-4CF8-A475-2AD8A9E2046E}">
      <dsp:nvSpPr>
        <dsp:cNvPr id="0" name=""/>
        <dsp:cNvSpPr/>
      </dsp:nvSpPr>
      <dsp:spPr>
        <a:xfrm rot="10800000">
          <a:off x="0" y="2033481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1538226"/>
                <a:satOff val="13869"/>
                <a:lumOff val="2942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1538226"/>
                <a:satOff val="13869"/>
                <a:lumOff val="2942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Mapa estratégico</a:t>
          </a:r>
        </a:p>
      </dsp:txBody>
      <dsp:txXfrm rot="10800000">
        <a:off x="0" y="2033481"/>
        <a:ext cx="10783491" cy="333368"/>
      </dsp:txXfrm>
    </dsp:sp>
    <dsp:sp modelId="{F48ABC2F-AC5B-4FFC-981B-88F6C0179496}">
      <dsp:nvSpPr>
        <dsp:cNvPr id="0" name=""/>
        <dsp:cNvSpPr/>
      </dsp:nvSpPr>
      <dsp:spPr>
        <a:xfrm rot="10800000">
          <a:off x="0" y="1525429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1922783"/>
                <a:satOff val="17336"/>
                <a:lumOff val="3677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1922783"/>
                <a:satOff val="17336"/>
                <a:lumOff val="3677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Estratégia</a:t>
          </a:r>
        </a:p>
      </dsp:txBody>
      <dsp:txXfrm rot="10800000">
        <a:off x="0" y="1525429"/>
        <a:ext cx="10783491" cy="333368"/>
      </dsp:txXfrm>
    </dsp:sp>
    <dsp:sp modelId="{A2F83695-43C2-4EA7-8369-FFA1C6A0FBB2}">
      <dsp:nvSpPr>
        <dsp:cNvPr id="0" name=""/>
        <dsp:cNvSpPr/>
      </dsp:nvSpPr>
      <dsp:spPr>
        <a:xfrm rot="10800000">
          <a:off x="0" y="1017376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2307339"/>
                <a:satOff val="20803"/>
                <a:lumOff val="4412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2307339"/>
                <a:satOff val="20803"/>
                <a:lumOff val="4412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Visão</a:t>
          </a:r>
        </a:p>
      </dsp:txBody>
      <dsp:txXfrm rot="10800000">
        <a:off x="0" y="1017376"/>
        <a:ext cx="10783491" cy="333368"/>
      </dsp:txXfrm>
    </dsp:sp>
    <dsp:sp modelId="{AB2A0834-7854-4500-988B-37066A17822C}">
      <dsp:nvSpPr>
        <dsp:cNvPr id="0" name=""/>
        <dsp:cNvSpPr/>
      </dsp:nvSpPr>
      <dsp:spPr>
        <a:xfrm rot="10800000">
          <a:off x="0" y="509324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2691896"/>
                <a:satOff val="24271"/>
                <a:lumOff val="5148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2691896"/>
                <a:satOff val="24271"/>
                <a:lumOff val="5148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Valores</a:t>
          </a:r>
        </a:p>
      </dsp:txBody>
      <dsp:txXfrm rot="10800000">
        <a:off x="0" y="509324"/>
        <a:ext cx="10783491" cy="333368"/>
      </dsp:txXfrm>
    </dsp:sp>
    <dsp:sp modelId="{2FC724D1-E1B0-4C75-98BA-6B84709BEB07}">
      <dsp:nvSpPr>
        <dsp:cNvPr id="0" name=""/>
        <dsp:cNvSpPr/>
      </dsp:nvSpPr>
      <dsp:spPr>
        <a:xfrm rot="10800000">
          <a:off x="0" y="1272"/>
          <a:ext cx="10783491" cy="513056"/>
        </a:xfrm>
        <a:prstGeom prst="upArrowCallout">
          <a:avLst/>
        </a:prstGeom>
        <a:gradFill rotWithShape="0">
          <a:gsLst>
            <a:gs pos="0">
              <a:srgbClr val="61D836">
                <a:hueOff val="-3076452"/>
                <a:satOff val="27738"/>
                <a:lumOff val="5883"/>
                <a:alphaOff val="0"/>
                <a:tint val="100000"/>
                <a:shade val="100000"/>
                <a:satMod val="129999"/>
              </a:srgbClr>
            </a:gs>
            <a:gs pos="100000">
              <a:srgbClr val="61D836">
                <a:hueOff val="-3076452"/>
                <a:satOff val="27738"/>
                <a:lumOff val="5883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rgbClr val="135989"/>
              </a:solidFill>
              <a:latin typeface="Krub Medium"/>
              <a:ea typeface="Verdana"/>
              <a:cs typeface="+mn-cs"/>
            </a:rPr>
            <a:t>Missão</a:t>
          </a:r>
        </a:p>
      </dsp:txBody>
      <dsp:txXfrm rot="10800000">
        <a:off x="0" y="1272"/>
        <a:ext cx="10783491" cy="3333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98348E-7E74-42E3-AA38-932FF8B208DF}">
      <dsp:nvSpPr>
        <dsp:cNvPr id="0" name=""/>
        <dsp:cNvSpPr/>
      </dsp:nvSpPr>
      <dsp:spPr>
        <a:xfrm>
          <a:off x="3971137" y="488048"/>
          <a:ext cx="6779598" cy="6779598"/>
        </a:xfrm>
        <a:prstGeom prst="pie">
          <a:avLst>
            <a:gd name="adj1" fmla="val 16200000"/>
            <a:gd name="adj2" fmla="val 198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rocessos</a:t>
          </a:r>
          <a:r>
            <a:rPr lang="en-US" sz="2400" b="1" kern="1200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 Vs </a:t>
          </a: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Resultados</a:t>
          </a:r>
          <a:endParaRPr lang="en-US" sz="2400" b="1" kern="1200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7522355" y="1354061"/>
        <a:ext cx="1775609" cy="1372061"/>
      </dsp:txXfrm>
    </dsp:sp>
    <dsp:sp modelId="{D041962A-6C9F-4BB4-91E4-4229B9AFB299}">
      <dsp:nvSpPr>
        <dsp:cNvPr id="0" name=""/>
        <dsp:cNvSpPr/>
      </dsp:nvSpPr>
      <dsp:spPr>
        <a:xfrm>
          <a:off x="4051846" y="627676"/>
          <a:ext cx="6779598" cy="6779598"/>
        </a:xfrm>
        <a:prstGeom prst="pie">
          <a:avLst>
            <a:gd name="adj1" fmla="val 19800000"/>
            <a:gd name="adj2" fmla="val 18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essoas Vs </a:t>
          </a: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Trabalho</a:t>
          </a:r>
          <a:endParaRPr lang="en-US" sz="2400" b="1" kern="1200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8652288" y="3371799"/>
        <a:ext cx="1856318" cy="1331706"/>
      </dsp:txXfrm>
    </dsp:sp>
    <dsp:sp modelId="{6CD9B6C5-DB28-4129-B9C2-714241D5ADD0}">
      <dsp:nvSpPr>
        <dsp:cNvPr id="0" name=""/>
        <dsp:cNvSpPr/>
      </dsp:nvSpPr>
      <dsp:spPr>
        <a:xfrm>
          <a:off x="3971137" y="767303"/>
          <a:ext cx="6779598" cy="6779598"/>
        </a:xfrm>
        <a:prstGeom prst="pie">
          <a:avLst>
            <a:gd name="adj1" fmla="val 1800000"/>
            <a:gd name="adj2" fmla="val 540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aróquia</a:t>
          </a:r>
          <a:r>
            <a:rPr lang="en-US" sz="2400" b="1" kern="1200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rofissional</a:t>
          </a:r>
          <a:endParaRPr lang="en-US" sz="2400" b="1" kern="1200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7522355" y="5349182"/>
        <a:ext cx="1775609" cy="1372061"/>
      </dsp:txXfrm>
    </dsp:sp>
    <dsp:sp modelId="{B7FC8175-B9CB-454F-9E9A-08E9BCB17A24}">
      <dsp:nvSpPr>
        <dsp:cNvPr id="0" name=""/>
        <dsp:cNvSpPr/>
      </dsp:nvSpPr>
      <dsp:spPr>
        <a:xfrm>
          <a:off x="3809718" y="767303"/>
          <a:ext cx="6779598" cy="6779598"/>
        </a:xfrm>
        <a:prstGeom prst="pie">
          <a:avLst>
            <a:gd name="adj1" fmla="val 5400000"/>
            <a:gd name="adj2" fmla="val 900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Fechado</a:t>
          </a:r>
          <a:r>
            <a:rPr lang="en-US" sz="2400" b="1" kern="1200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Aberto</a:t>
          </a:r>
          <a:endParaRPr lang="en-US" sz="2400" b="1" kern="1200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262489" y="5349182"/>
        <a:ext cx="1775609" cy="1372061"/>
      </dsp:txXfrm>
    </dsp:sp>
    <dsp:sp modelId="{4B67D357-A507-4FF1-9B4D-F8D422A49113}">
      <dsp:nvSpPr>
        <dsp:cNvPr id="0" name=""/>
        <dsp:cNvSpPr/>
      </dsp:nvSpPr>
      <dsp:spPr>
        <a:xfrm>
          <a:off x="3729008" y="627676"/>
          <a:ext cx="6779598" cy="6779598"/>
        </a:xfrm>
        <a:prstGeom prst="pie">
          <a:avLst>
            <a:gd name="adj1" fmla="val 9000000"/>
            <a:gd name="adj2" fmla="val 1260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Apertado</a:t>
          </a:r>
          <a:r>
            <a:rPr lang="en-US" sz="2400" b="1" kern="1200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Ligeiro</a:t>
          </a:r>
          <a:endParaRPr lang="en-US" sz="2400" b="1" kern="1200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051846" y="3371799"/>
        <a:ext cx="1856318" cy="1331706"/>
      </dsp:txXfrm>
    </dsp:sp>
    <dsp:sp modelId="{2162F702-BC0E-4346-96C1-42C43799067C}">
      <dsp:nvSpPr>
        <dsp:cNvPr id="0" name=""/>
        <dsp:cNvSpPr/>
      </dsp:nvSpPr>
      <dsp:spPr>
        <a:xfrm>
          <a:off x="3809718" y="488048"/>
          <a:ext cx="6779598" cy="6779598"/>
        </a:xfrm>
        <a:prstGeom prst="pie">
          <a:avLst>
            <a:gd name="adj1" fmla="val 12600000"/>
            <a:gd name="adj2" fmla="val 16200000"/>
          </a:avLst>
        </a:prstGeom>
        <a:solidFill>
          <a:srgbClr val="002060"/>
        </a:solidFill>
        <a:ln>
          <a:solidFill>
            <a:srgbClr val="FFC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Normativo</a:t>
          </a:r>
          <a:r>
            <a:rPr lang="en-US" sz="2400" b="1" kern="1200" dirty="0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 Vs </a:t>
          </a:r>
          <a:r>
            <a:rPr lang="en-US" sz="2400" b="1" kern="1200" dirty="0" err="1">
              <a:latin typeface="+mn-lt"/>
              <a:ea typeface="Verdana" panose="020B0604030504040204" pitchFamily="34" charset="0"/>
              <a:cs typeface="Verdana" panose="020B0604030504040204" pitchFamily="34" charset="0"/>
            </a:rPr>
            <a:t>Pragmático</a:t>
          </a:r>
          <a:endParaRPr lang="en-US" sz="2400" b="1" kern="1200" dirty="0">
            <a:latin typeface="+mn-lt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262489" y="1354061"/>
        <a:ext cx="1775609" cy="1372061"/>
      </dsp:txXfrm>
    </dsp:sp>
    <dsp:sp modelId="{12BEA31A-1F24-4282-BDBB-46FCB64C7902}">
      <dsp:nvSpPr>
        <dsp:cNvPr id="0" name=""/>
        <dsp:cNvSpPr/>
      </dsp:nvSpPr>
      <dsp:spPr>
        <a:xfrm>
          <a:off x="3551200" y="68359"/>
          <a:ext cx="7618977" cy="7618977"/>
        </a:xfrm>
        <a:prstGeom prst="circularArrow">
          <a:avLst>
            <a:gd name="adj1" fmla="val 5085"/>
            <a:gd name="adj2" fmla="val 327528"/>
            <a:gd name="adj3" fmla="val 19472472"/>
            <a:gd name="adj4" fmla="val 16200251"/>
            <a:gd name="adj5" fmla="val 5932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DDCB5DD-AA8E-4C25-A0A9-0E052AAD081C}">
      <dsp:nvSpPr>
        <dsp:cNvPr id="0" name=""/>
        <dsp:cNvSpPr/>
      </dsp:nvSpPr>
      <dsp:spPr>
        <a:xfrm>
          <a:off x="3631909" y="207986"/>
          <a:ext cx="7618977" cy="7618977"/>
        </a:xfrm>
        <a:prstGeom prst="circularArrow">
          <a:avLst>
            <a:gd name="adj1" fmla="val 5085"/>
            <a:gd name="adj2" fmla="val 327528"/>
            <a:gd name="adj3" fmla="val 1472472"/>
            <a:gd name="adj4" fmla="val 19800000"/>
            <a:gd name="adj5" fmla="val 5932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18A39D1-EFB9-47B0-80D3-4B354C8B67CA}">
      <dsp:nvSpPr>
        <dsp:cNvPr id="0" name=""/>
        <dsp:cNvSpPr/>
      </dsp:nvSpPr>
      <dsp:spPr>
        <a:xfrm>
          <a:off x="3551200" y="347614"/>
          <a:ext cx="7618977" cy="7618977"/>
        </a:xfrm>
        <a:prstGeom prst="circularArrow">
          <a:avLst>
            <a:gd name="adj1" fmla="val 5085"/>
            <a:gd name="adj2" fmla="val 327528"/>
            <a:gd name="adj3" fmla="val 5072221"/>
            <a:gd name="adj4" fmla="val 1800000"/>
            <a:gd name="adj5" fmla="val 5932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9BFC52D-3598-45DB-9980-A84575B98602}">
      <dsp:nvSpPr>
        <dsp:cNvPr id="0" name=""/>
        <dsp:cNvSpPr/>
      </dsp:nvSpPr>
      <dsp:spPr>
        <a:xfrm>
          <a:off x="3390276" y="347614"/>
          <a:ext cx="7618977" cy="7618977"/>
        </a:xfrm>
        <a:prstGeom prst="circularArrow">
          <a:avLst>
            <a:gd name="adj1" fmla="val 5085"/>
            <a:gd name="adj2" fmla="val 327528"/>
            <a:gd name="adj3" fmla="val 8672472"/>
            <a:gd name="adj4" fmla="val 5400251"/>
            <a:gd name="adj5" fmla="val 5932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2898D27-11B9-49AB-8538-8857651861C7}">
      <dsp:nvSpPr>
        <dsp:cNvPr id="0" name=""/>
        <dsp:cNvSpPr/>
      </dsp:nvSpPr>
      <dsp:spPr>
        <a:xfrm>
          <a:off x="3309566" y="207986"/>
          <a:ext cx="7618977" cy="7618977"/>
        </a:xfrm>
        <a:prstGeom prst="circularArrow">
          <a:avLst>
            <a:gd name="adj1" fmla="val 5085"/>
            <a:gd name="adj2" fmla="val 327528"/>
            <a:gd name="adj3" fmla="val 12272472"/>
            <a:gd name="adj4" fmla="val 9000000"/>
            <a:gd name="adj5" fmla="val 5932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B25A690-11ED-4DC7-B01A-C8E999305C03}">
      <dsp:nvSpPr>
        <dsp:cNvPr id="0" name=""/>
        <dsp:cNvSpPr/>
      </dsp:nvSpPr>
      <dsp:spPr>
        <a:xfrm>
          <a:off x="3390276" y="68359"/>
          <a:ext cx="7618977" cy="7618977"/>
        </a:xfrm>
        <a:prstGeom prst="circularArrow">
          <a:avLst>
            <a:gd name="adj1" fmla="val 5085"/>
            <a:gd name="adj2" fmla="val 327528"/>
            <a:gd name="adj3" fmla="val 15872221"/>
            <a:gd name="adj4" fmla="val 12600000"/>
            <a:gd name="adj5" fmla="val 5932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38F529-2313-4D6E-9781-0FCC9974DAF7}">
      <dsp:nvSpPr>
        <dsp:cNvPr id="0" name=""/>
        <dsp:cNvSpPr/>
      </dsp:nvSpPr>
      <dsp:spPr>
        <a:xfrm>
          <a:off x="1360588" y="-5956"/>
          <a:ext cx="5091781" cy="5091781"/>
        </a:xfrm>
        <a:prstGeom prst="circularArrow">
          <a:avLst>
            <a:gd name="adj1" fmla="val 5274"/>
            <a:gd name="adj2" fmla="val 312630"/>
            <a:gd name="adj3" fmla="val 14233151"/>
            <a:gd name="adj4" fmla="val 17124082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834044-6A5E-4D90-A977-D77C3F1E9DF2}">
      <dsp:nvSpPr>
        <dsp:cNvPr id="0" name=""/>
        <dsp:cNvSpPr/>
      </dsp:nvSpPr>
      <dsp:spPr>
        <a:xfrm>
          <a:off x="2941304" y="332"/>
          <a:ext cx="1930350" cy="965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Identificar</a:t>
          </a:r>
        </a:p>
      </dsp:txBody>
      <dsp:txXfrm>
        <a:off x="2988420" y="47448"/>
        <a:ext cx="1836118" cy="870943"/>
      </dsp:txXfrm>
    </dsp:sp>
    <dsp:sp modelId="{AD1C9900-8BA3-4698-9967-B642C7AA2290}">
      <dsp:nvSpPr>
        <dsp:cNvPr id="0" name=""/>
        <dsp:cNvSpPr/>
      </dsp:nvSpPr>
      <dsp:spPr>
        <a:xfrm>
          <a:off x="4730193" y="1033148"/>
          <a:ext cx="1930350" cy="965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Compreender</a:t>
          </a:r>
        </a:p>
      </dsp:txBody>
      <dsp:txXfrm>
        <a:off x="4777309" y="1080264"/>
        <a:ext cx="1836118" cy="870943"/>
      </dsp:txXfrm>
    </dsp:sp>
    <dsp:sp modelId="{87413F22-4D02-4BF1-A029-172ACC5C5B45}">
      <dsp:nvSpPr>
        <dsp:cNvPr id="0" name=""/>
        <dsp:cNvSpPr/>
      </dsp:nvSpPr>
      <dsp:spPr>
        <a:xfrm>
          <a:off x="4730193" y="3098780"/>
          <a:ext cx="1930350" cy="965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Analisar</a:t>
          </a:r>
        </a:p>
      </dsp:txBody>
      <dsp:txXfrm>
        <a:off x="4777309" y="3145896"/>
        <a:ext cx="1836118" cy="870943"/>
      </dsp:txXfrm>
    </dsp:sp>
    <dsp:sp modelId="{1AEC6531-E992-4CBF-81E9-EDA4891F4065}">
      <dsp:nvSpPr>
        <dsp:cNvPr id="0" name=""/>
        <dsp:cNvSpPr/>
      </dsp:nvSpPr>
      <dsp:spPr>
        <a:xfrm>
          <a:off x="2941304" y="4131595"/>
          <a:ext cx="1930350" cy="965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Priorizar</a:t>
          </a:r>
        </a:p>
      </dsp:txBody>
      <dsp:txXfrm>
        <a:off x="2988420" y="4178711"/>
        <a:ext cx="1836118" cy="870943"/>
      </dsp:txXfrm>
    </dsp:sp>
    <dsp:sp modelId="{8DFF09B3-0615-4AD5-8ECE-0FA969E0AEA5}">
      <dsp:nvSpPr>
        <dsp:cNvPr id="0" name=""/>
        <dsp:cNvSpPr/>
      </dsp:nvSpPr>
      <dsp:spPr>
        <a:xfrm>
          <a:off x="1152414" y="3098780"/>
          <a:ext cx="1930350" cy="965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Engajar</a:t>
          </a:r>
        </a:p>
      </dsp:txBody>
      <dsp:txXfrm>
        <a:off x="1199530" y="3145896"/>
        <a:ext cx="1836118" cy="870943"/>
      </dsp:txXfrm>
    </dsp:sp>
    <dsp:sp modelId="{15125FDB-208E-411D-AE47-0341E9218783}">
      <dsp:nvSpPr>
        <dsp:cNvPr id="0" name=""/>
        <dsp:cNvSpPr/>
      </dsp:nvSpPr>
      <dsp:spPr>
        <a:xfrm>
          <a:off x="1152414" y="1033148"/>
          <a:ext cx="1930350" cy="965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/>
            <a:t>Monitorar</a:t>
          </a:r>
        </a:p>
      </dsp:txBody>
      <dsp:txXfrm>
        <a:off x="1199530" y="1080264"/>
        <a:ext cx="1836118" cy="87094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1E8877-0E07-4609-B1E5-77C4D02383A7}">
      <dsp:nvSpPr>
        <dsp:cNvPr id="0" name=""/>
        <dsp:cNvSpPr/>
      </dsp:nvSpPr>
      <dsp:spPr>
        <a:xfrm>
          <a:off x="1741231" y="619498"/>
          <a:ext cx="748419" cy="2597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9890"/>
              </a:lnTo>
              <a:lnTo>
                <a:pt x="748419" y="129890"/>
              </a:lnTo>
              <a:lnTo>
                <a:pt x="748419" y="25978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4977AE-7A83-42F0-9167-8EC12AA1620A}">
      <dsp:nvSpPr>
        <dsp:cNvPr id="0" name=""/>
        <dsp:cNvSpPr/>
      </dsp:nvSpPr>
      <dsp:spPr>
        <a:xfrm>
          <a:off x="992812" y="2376118"/>
          <a:ext cx="569046" cy="3711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1116"/>
              </a:lnTo>
              <a:lnTo>
                <a:pt x="569046" y="37111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85760B-D155-464A-A626-4359991E4D12}">
      <dsp:nvSpPr>
        <dsp:cNvPr id="0" name=""/>
        <dsp:cNvSpPr/>
      </dsp:nvSpPr>
      <dsp:spPr>
        <a:xfrm>
          <a:off x="947092" y="1497808"/>
          <a:ext cx="91440" cy="25978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978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E8A395-1B40-4ABA-AB9C-CD5DB1721272}">
      <dsp:nvSpPr>
        <dsp:cNvPr id="0" name=""/>
        <dsp:cNvSpPr/>
      </dsp:nvSpPr>
      <dsp:spPr>
        <a:xfrm>
          <a:off x="992812" y="619498"/>
          <a:ext cx="748419" cy="259781"/>
        </a:xfrm>
        <a:custGeom>
          <a:avLst/>
          <a:gdLst/>
          <a:ahLst/>
          <a:cxnLst/>
          <a:rect l="0" t="0" r="0" b="0"/>
          <a:pathLst>
            <a:path>
              <a:moveTo>
                <a:pt x="748419" y="0"/>
              </a:moveTo>
              <a:lnTo>
                <a:pt x="748419" y="129890"/>
              </a:lnTo>
              <a:lnTo>
                <a:pt x="0" y="129890"/>
              </a:lnTo>
              <a:lnTo>
                <a:pt x="0" y="25978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67DE2F-E4CB-4E0E-BD1A-9A4914E9C6A3}">
      <dsp:nvSpPr>
        <dsp:cNvPr id="0" name=""/>
        <dsp:cNvSpPr/>
      </dsp:nvSpPr>
      <dsp:spPr>
        <a:xfrm>
          <a:off x="1431967" y="970"/>
          <a:ext cx="618528" cy="618528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BE0DE4-2C08-4D04-8A5B-BC26A624E514}">
      <dsp:nvSpPr>
        <dsp:cNvPr id="0" name=""/>
        <dsp:cNvSpPr/>
      </dsp:nvSpPr>
      <dsp:spPr>
        <a:xfrm>
          <a:off x="1431967" y="970"/>
          <a:ext cx="618528" cy="618528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2351C3-0D46-4DEC-ADA7-619A8CABE889}">
      <dsp:nvSpPr>
        <dsp:cNvPr id="0" name=""/>
        <dsp:cNvSpPr/>
      </dsp:nvSpPr>
      <dsp:spPr>
        <a:xfrm>
          <a:off x="1122703" y="112305"/>
          <a:ext cx="1237056" cy="39585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VP</a:t>
          </a:r>
        </a:p>
      </dsp:txBody>
      <dsp:txXfrm>
        <a:off x="1122703" y="112305"/>
        <a:ext cx="1237056" cy="395858"/>
      </dsp:txXfrm>
    </dsp:sp>
    <dsp:sp modelId="{215BDF88-565C-4384-9F3C-899C94A3D694}">
      <dsp:nvSpPr>
        <dsp:cNvPr id="0" name=""/>
        <dsp:cNvSpPr/>
      </dsp:nvSpPr>
      <dsp:spPr>
        <a:xfrm>
          <a:off x="683548" y="879280"/>
          <a:ext cx="618528" cy="618528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130F3-14A9-4608-A3E0-8F1487457C23}">
      <dsp:nvSpPr>
        <dsp:cNvPr id="0" name=""/>
        <dsp:cNvSpPr/>
      </dsp:nvSpPr>
      <dsp:spPr>
        <a:xfrm>
          <a:off x="683548" y="879280"/>
          <a:ext cx="618528" cy="618528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ACB3C8-3B27-4242-AC15-AA560B935D2D}">
      <dsp:nvSpPr>
        <dsp:cNvPr id="0" name=""/>
        <dsp:cNvSpPr/>
      </dsp:nvSpPr>
      <dsp:spPr>
        <a:xfrm>
          <a:off x="374284" y="990615"/>
          <a:ext cx="1237056" cy="39585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Dir A</a:t>
          </a:r>
        </a:p>
      </dsp:txBody>
      <dsp:txXfrm>
        <a:off x="374284" y="990615"/>
        <a:ext cx="1237056" cy="395858"/>
      </dsp:txXfrm>
    </dsp:sp>
    <dsp:sp modelId="{35BF9F72-34B4-46AC-957B-35DF091B7D15}">
      <dsp:nvSpPr>
        <dsp:cNvPr id="0" name=""/>
        <dsp:cNvSpPr/>
      </dsp:nvSpPr>
      <dsp:spPr>
        <a:xfrm>
          <a:off x="683548" y="1757590"/>
          <a:ext cx="618528" cy="618528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2C543B-3F3B-4EB9-AFE1-51FE5AA5BDCF}">
      <dsp:nvSpPr>
        <dsp:cNvPr id="0" name=""/>
        <dsp:cNvSpPr/>
      </dsp:nvSpPr>
      <dsp:spPr>
        <a:xfrm>
          <a:off x="683548" y="1757590"/>
          <a:ext cx="618528" cy="618528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F1E1B-012B-4FEA-A134-6C1BB684C820}">
      <dsp:nvSpPr>
        <dsp:cNvPr id="0" name=""/>
        <dsp:cNvSpPr/>
      </dsp:nvSpPr>
      <dsp:spPr>
        <a:xfrm>
          <a:off x="374284" y="1868925"/>
          <a:ext cx="1237056" cy="39585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 err="1"/>
            <a:t>Sup</a:t>
          </a:r>
          <a:r>
            <a:rPr lang="pt-BR" sz="2600" kern="1200" dirty="0"/>
            <a:t> A</a:t>
          </a:r>
        </a:p>
      </dsp:txBody>
      <dsp:txXfrm>
        <a:off x="374284" y="1868925"/>
        <a:ext cx="1237056" cy="395858"/>
      </dsp:txXfrm>
    </dsp:sp>
    <dsp:sp modelId="{80E34D52-04B7-44FA-9B86-174E7D1EE913}">
      <dsp:nvSpPr>
        <dsp:cNvPr id="0" name=""/>
        <dsp:cNvSpPr/>
      </dsp:nvSpPr>
      <dsp:spPr>
        <a:xfrm>
          <a:off x="1487634" y="2635900"/>
          <a:ext cx="618528" cy="618528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352D48-597D-4B4A-8F46-BF568B0504E5}">
      <dsp:nvSpPr>
        <dsp:cNvPr id="0" name=""/>
        <dsp:cNvSpPr/>
      </dsp:nvSpPr>
      <dsp:spPr>
        <a:xfrm>
          <a:off x="1487634" y="2635900"/>
          <a:ext cx="618528" cy="618528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D82C62-B007-4B9F-8F37-5281E8061B01}">
      <dsp:nvSpPr>
        <dsp:cNvPr id="0" name=""/>
        <dsp:cNvSpPr/>
      </dsp:nvSpPr>
      <dsp:spPr>
        <a:xfrm>
          <a:off x="1178370" y="2747235"/>
          <a:ext cx="1237056" cy="39585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Ger A</a:t>
          </a:r>
        </a:p>
      </dsp:txBody>
      <dsp:txXfrm>
        <a:off x="1178370" y="2747235"/>
        <a:ext cx="1237056" cy="395858"/>
      </dsp:txXfrm>
    </dsp:sp>
    <dsp:sp modelId="{ACEA0FFE-E2C1-47F8-880D-380F03FB4333}">
      <dsp:nvSpPr>
        <dsp:cNvPr id="0" name=""/>
        <dsp:cNvSpPr/>
      </dsp:nvSpPr>
      <dsp:spPr>
        <a:xfrm>
          <a:off x="2180386" y="879280"/>
          <a:ext cx="618528" cy="618528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66107A-E925-4FCB-BE36-F7899D130815}">
      <dsp:nvSpPr>
        <dsp:cNvPr id="0" name=""/>
        <dsp:cNvSpPr/>
      </dsp:nvSpPr>
      <dsp:spPr>
        <a:xfrm>
          <a:off x="2180386" y="879280"/>
          <a:ext cx="618528" cy="618528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CBD510-3AE8-4F33-A4F0-04D89FC90CE2}">
      <dsp:nvSpPr>
        <dsp:cNvPr id="0" name=""/>
        <dsp:cNvSpPr/>
      </dsp:nvSpPr>
      <dsp:spPr>
        <a:xfrm>
          <a:off x="1871122" y="990615"/>
          <a:ext cx="1237056" cy="39585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 err="1"/>
            <a:t>Sup</a:t>
          </a:r>
          <a:r>
            <a:rPr lang="pt-BR" sz="2600" kern="1200" dirty="0"/>
            <a:t> B</a:t>
          </a:r>
        </a:p>
      </dsp:txBody>
      <dsp:txXfrm>
        <a:off x="1871122" y="990615"/>
        <a:ext cx="1237056" cy="3958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50911E-B88C-48E5-8D68-02FD750C2171}">
      <dsp:nvSpPr>
        <dsp:cNvPr id="0" name=""/>
        <dsp:cNvSpPr/>
      </dsp:nvSpPr>
      <dsp:spPr>
        <a:xfrm>
          <a:off x="0" y="5368446"/>
          <a:ext cx="12728375" cy="50335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latin typeface="Calibri" panose="020F0502020204030204" pitchFamily="34" charset="0"/>
            </a:rPr>
            <a:t>Tornar a mudança duradouro</a:t>
          </a:r>
          <a:endParaRPr lang="en-US" sz="2800" b="0" kern="1200" dirty="0">
            <a:latin typeface="Calibri" panose="020F0502020204030204" pitchFamily="34" charset="0"/>
          </a:endParaRPr>
        </a:p>
      </dsp:txBody>
      <dsp:txXfrm>
        <a:off x="0" y="5368446"/>
        <a:ext cx="12728375" cy="503358"/>
      </dsp:txXfrm>
    </dsp:sp>
    <dsp:sp modelId="{7AD70EA0-3B9B-48C4-A8F8-A3D3922A0EF6}">
      <dsp:nvSpPr>
        <dsp:cNvPr id="0" name=""/>
        <dsp:cNvSpPr/>
      </dsp:nvSpPr>
      <dsp:spPr>
        <a:xfrm rot="10800000">
          <a:off x="0" y="4601831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latin typeface="Calibri" panose="020F0502020204030204" pitchFamily="34" charset="0"/>
            </a:rPr>
            <a:t>Não permitir o desânimo</a:t>
          </a:r>
          <a:endParaRPr lang="en-US" sz="2800" b="0" kern="1200" dirty="0">
            <a:latin typeface="Calibri" panose="020F0502020204030204" pitchFamily="34" charset="0"/>
          </a:endParaRPr>
        </a:p>
      </dsp:txBody>
      <dsp:txXfrm rot="10800000">
        <a:off x="0" y="4601831"/>
        <a:ext cx="12728375" cy="503029"/>
      </dsp:txXfrm>
    </dsp:sp>
    <dsp:sp modelId="{0DD5D1AA-5F83-4C64-BE6F-0D43D1DDEF9A}">
      <dsp:nvSpPr>
        <dsp:cNvPr id="0" name=""/>
        <dsp:cNvSpPr/>
      </dsp:nvSpPr>
      <dsp:spPr>
        <a:xfrm rot="10800000">
          <a:off x="0" y="3835216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latin typeface="Calibri" panose="020F0502020204030204" pitchFamily="34" charset="0"/>
            </a:rPr>
            <a:t>Propiciar vitórias de curto prazo</a:t>
          </a:r>
          <a:endParaRPr lang="en-US" sz="2800" b="0" kern="1200" dirty="0">
            <a:latin typeface="Calibri" panose="020F0502020204030204" pitchFamily="34" charset="0"/>
          </a:endParaRPr>
        </a:p>
      </dsp:txBody>
      <dsp:txXfrm rot="10800000">
        <a:off x="0" y="3835216"/>
        <a:ext cx="12728375" cy="503029"/>
      </dsp:txXfrm>
    </dsp:sp>
    <dsp:sp modelId="{B1A47B7A-71B5-4561-AFBD-08E297D7CCE1}">
      <dsp:nvSpPr>
        <dsp:cNvPr id="0" name=""/>
        <dsp:cNvSpPr/>
      </dsp:nvSpPr>
      <dsp:spPr>
        <a:xfrm rot="10800000">
          <a:off x="0" y="3068602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i="1" kern="1200" dirty="0">
              <a:latin typeface="Calibri" panose="020F0502020204030204" pitchFamily="34" charset="0"/>
            </a:rPr>
            <a:t>Empowerment para  a ação</a:t>
          </a:r>
          <a:endParaRPr lang="en-US" sz="2800" b="0" kern="1200" dirty="0">
            <a:latin typeface="Calibri" panose="020F0502020204030204" pitchFamily="34" charset="0"/>
          </a:endParaRPr>
        </a:p>
      </dsp:txBody>
      <dsp:txXfrm rot="10800000">
        <a:off x="0" y="3068602"/>
        <a:ext cx="12728375" cy="503029"/>
      </dsp:txXfrm>
    </dsp:sp>
    <dsp:sp modelId="{EDC02030-B7F8-48D1-BD54-047D9DA32A6C}">
      <dsp:nvSpPr>
        <dsp:cNvPr id="0" name=""/>
        <dsp:cNvSpPr/>
      </dsp:nvSpPr>
      <dsp:spPr>
        <a:xfrm rot="10800000">
          <a:off x="0" y="2301987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>
              <a:latin typeface="Calibri" panose="020F0502020204030204" pitchFamily="34" charset="0"/>
              <a:ea typeface="+mn-ea"/>
              <a:cs typeface="+mn-cs"/>
            </a:rPr>
            <a:t>Comunicar-se para promover a compra</a:t>
          </a:r>
          <a:endParaRPr lang="en-US" sz="2800" b="0" kern="1200" dirty="0">
            <a:latin typeface="Calibri" panose="020F0502020204030204" pitchFamily="34" charset="0"/>
            <a:ea typeface="+mn-ea"/>
            <a:cs typeface="+mn-cs"/>
          </a:endParaRPr>
        </a:p>
      </dsp:txBody>
      <dsp:txXfrm rot="10800000">
        <a:off x="0" y="2301987"/>
        <a:ext cx="12728375" cy="503029"/>
      </dsp:txXfrm>
    </dsp:sp>
    <dsp:sp modelId="{316D7AC8-D37E-4A35-AB4C-CA58677BB6D6}">
      <dsp:nvSpPr>
        <dsp:cNvPr id="0" name=""/>
        <dsp:cNvSpPr/>
      </dsp:nvSpPr>
      <dsp:spPr>
        <a:xfrm rot="10800000">
          <a:off x="0" y="1535372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latin typeface="Calibri" panose="020F0502020204030204" pitchFamily="34" charset="0"/>
            </a:rPr>
            <a:t>Desenvolver a visão certa</a:t>
          </a:r>
          <a:endParaRPr lang="en-US" sz="2800" b="0" kern="1200" dirty="0">
            <a:latin typeface="Calibri" panose="020F0502020204030204" pitchFamily="34" charset="0"/>
          </a:endParaRPr>
        </a:p>
      </dsp:txBody>
      <dsp:txXfrm rot="10800000">
        <a:off x="0" y="1535372"/>
        <a:ext cx="12728375" cy="503029"/>
      </dsp:txXfrm>
    </dsp:sp>
    <dsp:sp modelId="{09102370-956A-4F40-B23D-E64FFF926E00}">
      <dsp:nvSpPr>
        <dsp:cNvPr id="0" name=""/>
        <dsp:cNvSpPr/>
      </dsp:nvSpPr>
      <dsp:spPr>
        <a:xfrm rot="10800000">
          <a:off x="0" y="768757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latin typeface="Calibri" panose="020F0502020204030204" pitchFamily="34" charset="0"/>
            </a:rPr>
            <a:t>Construir equipe de orientação</a:t>
          </a:r>
          <a:endParaRPr lang="en-US" sz="2800" b="0" kern="1200" dirty="0">
            <a:latin typeface="Calibri" panose="020F0502020204030204" pitchFamily="34" charset="0"/>
          </a:endParaRPr>
        </a:p>
      </dsp:txBody>
      <dsp:txXfrm rot="10800000">
        <a:off x="0" y="768757"/>
        <a:ext cx="12728375" cy="503029"/>
      </dsp:txXfrm>
    </dsp:sp>
    <dsp:sp modelId="{1BB428C8-D024-4700-B04A-32C1C73953E6}">
      <dsp:nvSpPr>
        <dsp:cNvPr id="0" name=""/>
        <dsp:cNvSpPr/>
      </dsp:nvSpPr>
      <dsp:spPr>
        <a:xfrm rot="10800000">
          <a:off x="0" y="2143"/>
          <a:ext cx="12728375" cy="774165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0" kern="1200" dirty="0">
              <a:latin typeface="Calibri" panose="020F0502020204030204" pitchFamily="34" charset="0"/>
            </a:rPr>
            <a:t>Aumentar a urgência</a:t>
          </a:r>
          <a:endParaRPr lang="en-US" sz="2800" b="0" kern="1200" dirty="0">
            <a:latin typeface="Calibri" panose="020F0502020204030204" pitchFamily="34" charset="0"/>
          </a:endParaRPr>
        </a:p>
      </dsp:txBody>
      <dsp:txXfrm rot="10800000">
        <a:off x="0" y="2143"/>
        <a:ext cx="12728375" cy="50302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97E5D3-5956-438B-B351-C3DD88C30F4E}">
      <dsp:nvSpPr>
        <dsp:cNvPr id="0" name=""/>
        <dsp:cNvSpPr/>
      </dsp:nvSpPr>
      <dsp:spPr>
        <a:xfrm rot="5400000">
          <a:off x="7170809" y="-2756249"/>
          <a:ext cx="1578776" cy="7491951"/>
        </a:xfrm>
        <a:prstGeom prst="round2SameRect">
          <a:avLst/>
        </a:prstGeom>
        <a:solidFill>
          <a:schemeClr val="bg1">
            <a:lumMod val="85000"/>
            <a:alpha val="9000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36575" lvl="1" indent="-536575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69ADE7"/>
            </a:buClr>
            <a:buChar char="•"/>
          </a:pPr>
          <a:r>
            <a:rPr lang="en-US" sz="3100" b="0" kern="1200" dirty="0" err="1"/>
            <a:t>Montar</a:t>
          </a:r>
          <a:r>
            <a:rPr lang="en-US" sz="3100" b="0" kern="1200" dirty="0"/>
            <a:t> o </a:t>
          </a:r>
          <a:r>
            <a:rPr lang="en-US" sz="3100" b="0" kern="1200" dirty="0" err="1"/>
            <a:t>grupo</a:t>
          </a:r>
          <a:r>
            <a:rPr lang="en-US" sz="3100" b="0" kern="1200" dirty="0"/>
            <a:t> e </a:t>
          </a:r>
          <a:r>
            <a:rPr lang="en-US" sz="3100" b="0" kern="1200" dirty="0" err="1"/>
            <a:t>transformá</a:t>
          </a:r>
          <a:r>
            <a:rPr lang="en-US" sz="3100" b="0" kern="1200" dirty="0"/>
            <a:t>-lo </a:t>
          </a:r>
          <a:r>
            <a:rPr lang="en-US" sz="3100" b="0" kern="1200" dirty="0" err="1"/>
            <a:t>em</a:t>
          </a:r>
          <a:r>
            <a:rPr lang="en-US" sz="3100" b="0" kern="1200" dirty="0"/>
            <a:t> um time.</a:t>
          </a:r>
        </a:p>
      </dsp:txBody>
      <dsp:txXfrm rot="-5400000">
        <a:off x="4214222" y="277407"/>
        <a:ext cx="7414882" cy="1424638"/>
      </dsp:txXfrm>
    </dsp:sp>
    <dsp:sp modelId="{63E9AA30-8F7B-4226-B407-A8005CEF8201}">
      <dsp:nvSpPr>
        <dsp:cNvPr id="0" name=""/>
        <dsp:cNvSpPr/>
      </dsp:nvSpPr>
      <dsp:spPr>
        <a:xfrm>
          <a:off x="0" y="0"/>
          <a:ext cx="4214222" cy="1973471"/>
        </a:xfrm>
        <a:prstGeom prst="roundRect">
          <a:avLst/>
        </a:prstGeom>
        <a:solidFill>
          <a:srgbClr val="69ADE7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renciar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a </a:t>
          </a: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quipe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o </a:t>
          </a: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jeto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:</a:t>
          </a:r>
        </a:p>
      </dsp:txBody>
      <dsp:txXfrm>
        <a:off x="96337" y="96337"/>
        <a:ext cx="4021548" cy="1780797"/>
      </dsp:txXfrm>
    </dsp:sp>
    <dsp:sp modelId="{A0D5F9FF-DE9D-440E-9BA7-6FF2DA5A28DE}">
      <dsp:nvSpPr>
        <dsp:cNvPr id="0" name=""/>
        <dsp:cNvSpPr/>
      </dsp:nvSpPr>
      <dsp:spPr>
        <a:xfrm rot="5400000">
          <a:off x="7170809" y="-684105"/>
          <a:ext cx="1578776" cy="7491951"/>
        </a:xfrm>
        <a:prstGeom prst="round2SameRect">
          <a:avLst/>
        </a:prstGeom>
        <a:solidFill>
          <a:schemeClr val="bg1">
            <a:lumMod val="75000"/>
            <a:alpha val="90000"/>
          </a:schemeClr>
        </a:solidFill>
        <a:ln w="25400" cap="flat" cmpd="sng" algn="ctr">
          <a:solidFill>
            <a:schemeClr val="accent2">
              <a:tint val="40000"/>
              <a:alpha val="90000"/>
              <a:hueOff val="2512910"/>
              <a:satOff val="-2189"/>
              <a:lumOff val="-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36575" lvl="1" indent="-536575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69ADE7"/>
            </a:buClr>
            <a:buChar char="•"/>
          </a:pPr>
          <a:r>
            <a:rPr lang="en-US" sz="3100" kern="1200" dirty="0" err="1"/>
            <a:t>Definir</a:t>
          </a:r>
          <a:r>
            <a:rPr lang="en-US" sz="3100" kern="1200" dirty="0"/>
            <a:t> </a:t>
          </a:r>
          <a:r>
            <a:rPr lang="en-US" sz="3100" kern="1200" dirty="0" err="1"/>
            <a:t>escopo</a:t>
          </a:r>
          <a:r>
            <a:rPr lang="en-US" sz="3100" kern="1200" dirty="0"/>
            <a:t>, </a:t>
          </a:r>
          <a:r>
            <a:rPr lang="en-US" sz="3100" kern="1200" dirty="0" err="1"/>
            <a:t>prazos</a:t>
          </a:r>
          <a:r>
            <a:rPr lang="en-US" sz="3100" kern="1200" dirty="0"/>
            <a:t>, </a:t>
          </a:r>
          <a:r>
            <a:rPr lang="en-US" sz="3100" kern="1200" dirty="0" err="1"/>
            <a:t>qualidade</a:t>
          </a:r>
          <a:r>
            <a:rPr lang="en-US" sz="3100" kern="1200" dirty="0"/>
            <a:t>, custos.</a:t>
          </a:r>
        </a:p>
      </dsp:txBody>
      <dsp:txXfrm rot="-5400000">
        <a:off x="4214222" y="2349551"/>
        <a:ext cx="7414882" cy="1424638"/>
      </dsp:txXfrm>
    </dsp:sp>
    <dsp:sp modelId="{6119235D-34E0-4387-99EB-30CD9465B3C1}">
      <dsp:nvSpPr>
        <dsp:cNvPr id="0" name=""/>
        <dsp:cNvSpPr/>
      </dsp:nvSpPr>
      <dsp:spPr>
        <a:xfrm>
          <a:off x="0" y="2075134"/>
          <a:ext cx="4214222" cy="1973471"/>
        </a:xfrm>
        <a:prstGeom prst="roundRect">
          <a:avLst/>
        </a:prstGeom>
        <a:solidFill>
          <a:srgbClr val="69ADE7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renciar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cnicamente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b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 </a:t>
          </a: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jeto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:</a:t>
          </a:r>
        </a:p>
      </dsp:txBody>
      <dsp:txXfrm>
        <a:off x="96337" y="2171471"/>
        <a:ext cx="4021548" cy="1780797"/>
      </dsp:txXfrm>
    </dsp:sp>
    <dsp:sp modelId="{6B5B1F0C-9B44-4CAE-968E-CCCE82B46C36}">
      <dsp:nvSpPr>
        <dsp:cNvPr id="0" name=""/>
        <dsp:cNvSpPr/>
      </dsp:nvSpPr>
      <dsp:spPr>
        <a:xfrm rot="5400000">
          <a:off x="7170809" y="1388039"/>
          <a:ext cx="1578776" cy="7491951"/>
        </a:xfrm>
        <a:prstGeom prst="round2SameRect">
          <a:avLst/>
        </a:prstGeom>
        <a:solidFill>
          <a:schemeClr val="bg1">
            <a:lumMod val="65000"/>
            <a:alpha val="90000"/>
          </a:schemeClr>
        </a:solidFill>
        <a:ln w="25400" cap="flat" cmpd="sng" algn="ctr">
          <a:solidFill>
            <a:schemeClr val="accent2">
              <a:tint val="40000"/>
              <a:alpha val="90000"/>
              <a:hueOff val="5025821"/>
              <a:satOff val="-4378"/>
              <a:lumOff val="-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36575" lvl="1" indent="-536575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rgbClr val="69ADE7"/>
            </a:buClr>
            <a:buChar char="•"/>
          </a:pPr>
          <a:r>
            <a:rPr lang="en-US" sz="3100" kern="1200" dirty="0"/>
            <a:t>Lidar com </a:t>
          </a:r>
          <a:r>
            <a:rPr lang="en-US" sz="3100" kern="1200" dirty="0" err="1"/>
            <a:t>os</a:t>
          </a:r>
          <a:r>
            <a:rPr lang="en-US" sz="3100" kern="1200" dirty="0"/>
            <a:t> </a:t>
          </a:r>
          <a:r>
            <a:rPr lang="en-US" sz="3100" kern="1200" dirty="0" err="1"/>
            <a:t>conflitos</a:t>
          </a:r>
          <a:r>
            <a:rPr lang="en-US" sz="3100" kern="1200" dirty="0"/>
            <a:t> e com </a:t>
          </a:r>
          <a:br>
            <a:rPr lang="en-US" sz="3100" kern="1200" dirty="0"/>
          </a:br>
          <a:r>
            <a:rPr lang="en-US" sz="3100" kern="1200" dirty="0"/>
            <a:t>as </a:t>
          </a:r>
          <a:r>
            <a:rPr lang="pt-BR" sz="3100" kern="1200" noProof="0" dirty="0"/>
            <a:t>resistências.</a:t>
          </a:r>
        </a:p>
      </dsp:txBody>
      <dsp:txXfrm rot="-5400000">
        <a:off x="4214222" y="4421696"/>
        <a:ext cx="7414882" cy="1424638"/>
      </dsp:txXfrm>
    </dsp:sp>
    <dsp:sp modelId="{4EBED148-2FFF-42E5-BD1E-AA140D19FE60}">
      <dsp:nvSpPr>
        <dsp:cNvPr id="0" name=""/>
        <dsp:cNvSpPr/>
      </dsp:nvSpPr>
      <dsp:spPr>
        <a:xfrm>
          <a:off x="0" y="4147279"/>
          <a:ext cx="4214222" cy="1973471"/>
        </a:xfrm>
        <a:prstGeom prst="roundRect">
          <a:avLst/>
        </a:prstGeom>
        <a:solidFill>
          <a:srgbClr val="69ADE7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renciar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a </a:t>
          </a: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stratégia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b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o </a:t>
          </a:r>
          <a:r>
            <a:rPr lang="en-US" sz="310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jeto</a:t>
          </a:r>
          <a:r>
            <a:rPr lang="en-US" sz="310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:</a:t>
          </a:r>
        </a:p>
      </dsp:txBody>
      <dsp:txXfrm>
        <a:off x="96337" y="4243616"/>
        <a:ext cx="4021548" cy="17807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95404" y="0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9D3BAD1-04B5-4EEE-A8EB-0A8F5F6AB81D}" type="datetimeFigureOut">
              <a:rPr lang="pt-BR"/>
              <a:pPr>
                <a:defRPr/>
              </a:pPr>
              <a:t>07/03/2024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172249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95404" y="9172249"/>
            <a:ext cx="2980055" cy="482838"/>
          </a:xfrm>
          <a:prstGeom prst="rect">
            <a:avLst/>
          </a:prstGeom>
        </p:spPr>
        <p:txBody>
          <a:bodyPr vert="horz" wrap="square" lIns="94476" tIns="47238" rIns="94476" bIns="4723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D25ECD6-F5DB-4F3E-9689-E133323AC37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897262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95404" y="0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55B27D2-8001-409F-9786-9B08DAA3F560}" type="datetimeFigureOut">
              <a:rPr lang="pt-BR"/>
              <a:pPr>
                <a:defRPr/>
              </a:pPr>
              <a:t>07/03/2024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025525" y="723900"/>
            <a:ext cx="4826000" cy="3621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476" tIns="47238" rIns="94476" bIns="47238" rtlCol="0" anchor="ctr"/>
          <a:lstStyle/>
          <a:p>
            <a:pPr lvl="0"/>
            <a:endParaRPr lang="pt-BR" noProof="0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7705" y="4586963"/>
            <a:ext cx="5501640" cy="4345543"/>
          </a:xfrm>
          <a:prstGeom prst="rect">
            <a:avLst/>
          </a:prstGeom>
        </p:spPr>
        <p:txBody>
          <a:bodyPr vert="horz" lIns="94476" tIns="47238" rIns="94476" bIns="47238" rtlCol="0">
            <a:normAutofit/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172249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95404" y="9172249"/>
            <a:ext cx="2980055" cy="482838"/>
          </a:xfrm>
          <a:prstGeom prst="rect">
            <a:avLst/>
          </a:prstGeom>
        </p:spPr>
        <p:txBody>
          <a:bodyPr vert="horz" wrap="square" lIns="94476" tIns="47238" rIns="94476" bIns="4723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CAC094A0-DBFF-4992-80E8-A859C9DC321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5340755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619" algn="l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239" algn="l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6856" algn="l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2473" algn="l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8091" algn="l" defTabSz="13712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3710" algn="l" defTabSz="13712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799328" algn="l" defTabSz="13712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4947" algn="l" defTabSz="13712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61378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F2E1960-D5CB-4A48-B3E8-A87C79CA92DB}" type="slidenum">
              <a:rPr lang="pt-BR" altLang="pt-BR" smtClean="0"/>
              <a:pPr/>
              <a:t>1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575482226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B251938A-2C55-43BB-B71D-6B1C46A21ABC}" type="slidenum">
              <a:rPr lang="pt-BR" smtClean="0"/>
              <a:t>1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2487542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B251938A-2C55-43BB-B71D-6B1C46A21ABC}" type="slidenum">
              <a:rPr lang="pt-BR" smtClean="0"/>
              <a:t>1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0474308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7193664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algn="r" defTabSz="944758" hangingPunct="1">
              <a:defRPr/>
            </a:pPr>
            <a:fld id="{92AE5497-932C-459C-81ED-314435C62620}" type="slidenum">
              <a:rPr lang="pt-BR" sz="1200" b="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pPr algn="r" defTabSz="944758" hangingPunct="1">
                <a:defRPr/>
              </a:pPr>
              <a:t>119</a:t>
            </a:fld>
            <a:endParaRPr lang="pt-BR" sz="1200" b="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1918243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Produza</a:t>
            </a:r>
            <a:r>
              <a:rPr lang="pt-BR" baseline="0" dirty="0"/>
              <a:t> vitórias a curto prazo, em quantidade suficiente, com bastante rapidez, para ajudar os promotores da mudança, esclarecer os pessimistas, disparar os cínicos e transmitir impulso ao esforço.</a:t>
            </a:r>
          </a:p>
          <a:p>
            <a:r>
              <a:rPr lang="pt-BR" dirty="0"/>
              <a:t>Uma das estratégias que favorece</a:t>
            </a:r>
            <a:r>
              <a:rPr lang="pt-BR" baseline="0" dirty="0"/>
              <a:t> o alinhamento de todos os esforços em prol dessa visão única é a adoção de programas corporativos de valorização das iniciativas dos primeiros adotantes da nova cultura. Projetos dessa natureza podem contar com premiações e outras iniciativa que reconheçam e promovam em seus mecanismos de comunicação a postura desses colaboradores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819079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3673776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/>
          <a:lstStyle/>
          <a:p>
            <a:fld id="{EDEE1C07-4BFD-44EC-876C-19D3C7445643}" type="slidenum">
              <a:rPr lang="pt-BR" smtClean="0"/>
              <a:t>1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28189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F2E1960-D5CB-4A48-B3E8-A87C79CA92DB}" type="slidenum">
              <a:rPr lang="pt-BR" altLang="pt-BR" smtClean="0"/>
              <a:pPr/>
              <a:t>1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6020375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F2E1960-D5CB-4A48-B3E8-A87C79CA92DB}" type="slidenum">
              <a:rPr lang="pt-BR" altLang="pt-BR" smtClean="0"/>
              <a:pPr/>
              <a:t>1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0595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sz="1200" spc="4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EE1C07-4BFD-44EC-876C-19D3C7445643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84493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C094A0-DBFF-4992-80E8-A859C9DC321E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pt-BR" alt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4545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xfrm>
            <a:off x="3895405" y="9172250"/>
            <a:ext cx="2980055" cy="48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F2E1960-D5CB-4A48-B3E8-A87C79CA92DB}" type="slidenum">
              <a:rPr lang="pt-BR" altLang="pt-BR" smtClean="0"/>
              <a:pPr/>
              <a:t>2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96467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management30.com/practice/moving-motivators/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2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866903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management30.com/practice/moving-motivators/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2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2430149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2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5486821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2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770209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4047219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5525" y="723900"/>
            <a:ext cx="4826000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2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173030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944758" rtl="0">
              <a:lnSpc>
                <a:spcPct val="100000"/>
              </a:lnSpc>
              <a:defRPr/>
            </a:pPr>
            <a:r>
              <a:rPr lang="pt-BR" sz="1200" dirty="0">
                <a:solidFill>
                  <a:srgbClr val="1359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F6EC7991-47BC-4B35-9B7C-5DAD37BC1977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29435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00113" y="765175"/>
            <a:ext cx="5095875" cy="3822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917076" y="10229786"/>
            <a:ext cx="2996634" cy="540377"/>
          </a:xfrm>
          <a:prstGeom prst="rect">
            <a:avLst/>
          </a:prstGeom>
        </p:spPr>
        <p:txBody>
          <a:bodyPr lIns="97613" tIns="48806" rIns="97613" bIns="48806"/>
          <a:lstStyle/>
          <a:p>
            <a:fld id="{EDEE1C07-4BFD-44EC-876C-19D3C7445643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01315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91723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32991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54113" y="1274763"/>
            <a:ext cx="4587875" cy="3441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baseline="0" dirty="0"/>
              <a:t>http://match.peopleoriented.com.br/researches/SolangePose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905458" y="9686245"/>
            <a:ext cx="2989084" cy="510404"/>
          </a:xfrm>
          <a:prstGeom prst="rect">
            <a:avLst/>
          </a:prstGeom>
        </p:spPr>
        <p:txBody>
          <a:bodyPr lIns="94476" tIns="47238" rIns="94476" bIns="47238"/>
          <a:lstStyle/>
          <a:p>
            <a:pPr>
              <a:defRPr/>
            </a:pPr>
            <a:fld id="{2DF40184-DBF3-4D0E-932A-A34F0B0D00AF}" type="slidenum">
              <a:rPr lang="pt-BR" smtClean="0"/>
              <a:pPr>
                <a:defRPr/>
              </a:pPr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04074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05595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67923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28200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3850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5525" y="723900"/>
            <a:ext cx="4826000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6783400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14661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33743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3070DA-13D3-44F2-BE73-EFA050C0B31F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49226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3070DA-13D3-44F2-BE73-EFA050C0B31F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3319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356688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3070DA-13D3-44F2-BE73-EFA050C0B31F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36074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</a:t>
            </a:r>
            <a:r>
              <a:rPr lang="pt-BR" dirty="0" err="1"/>
              <a:t>Nã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4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28749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54113" y="1274763"/>
            <a:ext cx="4587875" cy="3441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F40184-DBF3-4D0E-932A-A34F0B0D00AF}" type="slidenum">
              <a:rPr kumimoji="0" lang="pt-BR" sz="3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pt-BR" sz="3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8791368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00113" y="765175"/>
            <a:ext cx="5095875" cy="3822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917076" y="10229786"/>
            <a:ext cx="2996634" cy="540377"/>
          </a:xfrm>
          <a:prstGeom prst="rect">
            <a:avLst/>
          </a:prstGeom>
        </p:spPr>
        <p:txBody>
          <a:bodyPr lIns="97613" tIns="48806" rIns="97613" bIns="48806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EE1C07-4BFD-44EC-876C-19D3C7445643}" type="slidenum">
              <a:rPr kumimoji="0" lang="pt-BR" sz="3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pt-BR" sz="3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8265948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EC7991-47BC-4B35-9B7C-5DAD37BC1977}" type="slidenum">
              <a:rPr kumimoji="0" lang="pt-BR" sz="3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pt-BR" sz="3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5334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5525" y="723900"/>
            <a:ext cx="4826000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4</a:t>
            </a:fld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374018231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070DA-13D3-44F2-BE73-EFA050C0B31F}" type="slidenum">
              <a:rPr kumimoji="0" lang="pt-BR" sz="3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pt-BR" sz="3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2549573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4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436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54113" y="1274763"/>
            <a:ext cx="4587875" cy="3441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5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26764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00113" y="765175"/>
            <a:ext cx="5095875" cy="3822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917076" y="10229786"/>
            <a:ext cx="2996634" cy="540377"/>
          </a:xfrm>
          <a:prstGeom prst="rect">
            <a:avLst/>
          </a:prstGeom>
        </p:spPr>
        <p:txBody>
          <a:bodyPr lIns="97613" tIns="48806" rIns="97613" bIns="48806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EE1C07-4BFD-44EC-876C-19D3C7445643}" type="slidenum">
              <a:rPr kumimoji="0" lang="pt-BR" sz="3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pt-BR" sz="3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615057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https://www.youtube.com/watch?v=H8TYYszf4TI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CA2D21D1-52E2-420B-B491-CFF6D7BB79FB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11320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5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966931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5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769657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95404" y="9172249"/>
            <a:ext cx="2980055" cy="484514"/>
          </a:xfrm>
          <a:prstGeom prst="rect">
            <a:avLst/>
          </a:prstGeom>
        </p:spPr>
        <p:txBody>
          <a:bodyPr lIns="94476" tIns="47238" rIns="94476" bIns="47238"/>
          <a:lstStyle/>
          <a:p>
            <a:fld id="{9E3070DA-13D3-44F2-BE73-EFA050C0B31F}" type="slidenum">
              <a:rPr lang="pt-BR" smtClean="0"/>
              <a:t>5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889668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</a:t>
            </a:r>
            <a:r>
              <a:rPr lang="pt-BR" dirty="0" err="1"/>
              <a:t>Nã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5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46529510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65175"/>
            <a:ext cx="5095875" cy="38227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40000" lnSpcReduction="20000"/>
          </a:bodyPr>
          <a:lstStyle/>
          <a:p>
            <a:endParaRPr lang="en-GB" altLang="pt-BR" dirty="0"/>
          </a:p>
        </p:txBody>
      </p:sp>
      <p:sp>
        <p:nvSpPr>
          <p:cNvPr id="3891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xfrm>
            <a:off x="3917076" y="10229786"/>
            <a:ext cx="2996634" cy="5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613" tIns="48806" rIns="97613" bIns="48806"/>
          <a:lstStyle>
            <a:lvl1pPr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93101" indent="-305039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20155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708217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96279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84341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172403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660465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148527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5EFAB927-24E0-4826-A33F-D3802C5C99F9}" type="slidenum">
              <a:rPr lang="en-US" altLang="pt-BR" sz="1200">
                <a:solidFill>
                  <a:prstClr val="black"/>
                </a:solidFill>
              </a:rPr>
              <a:pPr/>
              <a:t>58</a:t>
            </a:fld>
            <a:endParaRPr lang="en-US" altLang="pt-BR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377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6008843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65175"/>
            <a:ext cx="5095875" cy="38227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40000" lnSpcReduction="20000"/>
          </a:bodyPr>
          <a:lstStyle/>
          <a:p>
            <a:endParaRPr lang="en-GB" altLang="pt-BR" dirty="0"/>
          </a:p>
        </p:txBody>
      </p:sp>
      <p:sp>
        <p:nvSpPr>
          <p:cNvPr id="4096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xfrm>
            <a:off x="3917076" y="10229786"/>
            <a:ext cx="2996634" cy="5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613" tIns="48806" rIns="97613" bIns="48806"/>
          <a:lstStyle>
            <a:lvl1pPr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93101" indent="-305039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20155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708217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96279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84341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172403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660465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148527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09BAF867-098A-4668-B4C0-A8F64DC491C7}" type="slidenum">
              <a:rPr lang="en-US" altLang="pt-BR" sz="1200">
                <a:solidFill>
                  <a:prstClr val="black"/>
                </a:solidFill>
              </a:rPr>
              <a:pPr/>
              <a:t>59</a:t>
            </a:fld>
            <a:endParaRPr lang="en-US" altLang="pt-BR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50404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65175"/>
            <a:ext cx="5095875" cy="38227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40000" lnSpcReduction="20000"/>
          </a:bodyPr>
          <a:lstStyle/>
          <a:p>
            <a:endParaRPr lang="en-GB" altLang="pt-BR" dirty="0"/>
          </a:p>
        </p:txBody>
      </p:sp>
      <p:sp>
        <p:nvSpPr>
          <p:cNvPr id="430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xfrm>
            <a:off x="3917076" y="10229786"/>
            <a:ext cx="2996634" cy="5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613" tIns="48806" rIns="97613" bIns="48806"/>
          <a:lstStyle>
            <a:lvl1pPr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93101" indent="-305039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20155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708217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96279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84341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172403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660465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148527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8B6E8F4D-BDC3-4F6B-BAAC-5F989A17D715}" type="slidenum">
              <a:rPr lang="en-US" altLang="pt-BR" sz="1200">
                <a:solidFill>
                  <a:prstClr val="black"/>
                </a:solidFill>
              </a:rPr>
              <a:pPr/>
              <a:t>60</a:t>
            </a:fld>
            <a:endParaRPr lang="en-US" altLang="pt-BR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23361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023938" y="723900"/>
            <a:ext cx="4829175" cy="36210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739933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00113" y="765175"/>
            <a:ext cx="5095875" cy="38227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8997435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65175"/>
            <a:ext cx="5095875" cy="38227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32500" lnSpcReduction="20000"/>
          </a:bodyPr>
          <a:lstStyle/>
          <a:p>
            <a:endParaRPr lang="en-GB" altLang="pt-BR" dirty="0"/>
          </a:p>
        </p:txBody>
      </p:sp>
      <p:sp>
        <p:nvSpPr>
          <p:cNvPr id="4813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xfrm>
            <a:off x="3917076" y="10229786"/>
            <a:ext cx="2996634" cy="5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613" tIns="48806" rIns="97613" bIns="48806"/>
          <a:lstStyle>
            <a:lvl1pPr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93101" indent="-305039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20155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708217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96279" indent="-244032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84341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172403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660465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148527" indent="-244032" defTabSz="488062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3C6FF632-565B-489A-86C7-A458719A8324}" type="slidenum">
              <a:rPr lang="en-US" altLang="pt-BR" sz="1200">
                <a:solidFill>
                  <a:prstClr val="black"/>
                </a:solidFill>
              </a:rPr>
              <a:pPr/>
              <a:t>63</a:t>
            </a:fld>
            <a:endParaRPr lang="en-US" altLang="pt-BR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88847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23938" y="723900"/>
            <a:ext cx="4829175" cy="36210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xfrm>
            <a:off x="3906226" y="9686597"/>
            <a:ext cx="2988333" cy="509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476" tIns="47238" rIns="94476" bIns="4723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7616" indent="-295237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0948" indent="-23619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3327" indent="-23619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25706" indent="-23619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98085" indent="-236190" defTabSz="47237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0464" indent="-236190" defTabSz="47237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42843" indent="-236190" defTabSz="47237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15222" indent="-236190" defTabSz="47237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F2E1960-D5CB-4A48-B3E8-A87C79CA92DB}" type="slidenum">
              <a:rPr lang="pt-BR" altLang="pt-BR" smtClean="0"/>
              <a:pPr/>
              <a:t>6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5124851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6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870938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6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248274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6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5293471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6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0510667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F2E1960-D5CB-4A48-B3E8-A87C79CA92DB}" type="slidenum">
              <a:rPr lang="pt-BR" altLang="pt-BR" smtClean="0"/>
              <a:pPr/>
              <a:t>1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99058418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6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84896125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7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571495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7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02578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7"/>
          <p:cNvSpPr txBox="1">
            <a:spLocks noGrp="1" noChangeArrowheads="1"/>
          </p:cNvSpPr>
          <p:nvPr/>
        </p:nvSpPr>
        <p:spPr bwMode="auto">
          <a:xfrm>
            <a:off x="3660180" y="9067422"/>
            <a:ext cx="2798961" cy="477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3BF249FF-678C-44D3-8A82-F6BAA66EC83B}" type="slidenum">
              <a:rPr lang="pt-BR" altLang="pt-BR">
                <a:latin typeface="Times" panose="02020603050405020304" pitchFamily="18" charset="0"/>
              </a:rPr>
              <a:pPr algn="r">
                <a:spcBef>
                  <a:spcPct val="0"/>
                </a:spcBef>
              </a:pPr>
              <a:t>74</a:t>
            </a:fld>
            <a:endParaRPr lang="pt-BR" altLang="pt-BR">
              <a:latin typeface="Times" panose="02020603050405020304" pitchFamily="18" charset="0"/>
            </a:endParaRPr>
          </a:p>
        </p:txBody>
      </p:sp>
      <p:sp>
        <p:nvSpPr>
          <p:cNvPr id="1239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39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61219" y="4533711"/>
            <a:ext cx="4736703" cy="429509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21210515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8A549E-563F-4FCB-BE8C-E27B4BBDCC2B}" type="slidenum">
              <a:rPr lang="pt-BR" smtClean="0"/>
              <a:pPr>
                <a:defRPr/>
              </a:pPr>
              <a:t>7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6780911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686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E4F58174-2E18-4A1B-8C96-ADBB85799AAC}" type="slidenum">
              <a:rPr lang="pt-BR" altLang="pt-BR" smtClean="0"/>
              <a:pPr/>
              <a:t>7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0468086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</a:t>
            </a:r>
            <a:r>
              <a:rPr lang="pt-BR" dirty="0" err="1"/>
              <a:t>Nã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7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90461119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A96105-2065-72FE-2B49-417B0A5E6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47234EB1-CB7C-7FF5-F01D-5EE8A13471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0E3A47F1-650B-7891-B3E3-A4C2DC657A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808B44A-804B-F4D3-6EF8-F31845CB05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7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40418732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09757890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4E03BC-CE14-B6BE-19D1-218F1C7D9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6FBD0B96-2E95-4724-F4F5-565CF107FC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1BC2F3F-444D-84DD-A036-42571F1AB5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54003B9-EE81-EE40-0D14-00CC226E5E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619554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2</a:t>
            </a:fld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1864118301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033AD-9895-5129-1356-3171C5B2F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D296A2A-F8E4-8698-94E0-FC25B463B5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F5ADC990-0C24-900C-AFF1-60F15B0026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63C0294-2C34-8E18-466C-A52C00A280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41474141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76656907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8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387381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73986215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8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9304940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35255471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339190975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8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439545707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37833741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FB4B4-5324-CECC-F816-35E8F5273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E97B7F1C-75F6-6617-20EE-962858F904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2E3F96A-17EB-CD56-080A-A1FA1944CF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D90F27E-9804-2F0E-B691-3541DF6EC8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427981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</a:t>
            </a:r>
            <a:r>
              <a:rPr lang="pt-BR" dirty="0" err="1"/>
              <a:t>Nã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31643690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70039364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74037237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50907843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2548551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87407153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171655424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029987379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9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904420042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0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824977472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01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658782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</a:t>
            </a:r>
            <a:r>
              <a:rPr lang="pt-BR" dirty="0" err="1"/>
              <a:t>Nã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984514787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02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98989743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0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9581930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0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928560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0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15636488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0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9699962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2E1960-D5CB-4A48-B3E8-A87C79CA92DB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1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673800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41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pt-BR" altLang="pt-BR" dirty="0"/>
          </a:p>
        </p:txBody>
      </p:sp>
      <p:sp>
        <p:nvSpPr>
          <p:cNvPr id="43418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2E1960-D5CB-4A48-B3E8-A87C79CA92DB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2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437238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094A0-DBFF-4992-80E8-A859C9DC321E}" type="slidenum">
              <a:rPr lang="pt-BR" altLang="pt-BR" smtClean="0"/>
              <a:pPr/>
              <a:t>113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024085367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070DA-13D3-44F2-BE73-EFA050C0B31F}" type="slidenum">
              <a:rPr lang="pt-BR" smtClean="0"/>
              <a:t>1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6678019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B251938A-2C55-43BB-B71D-6B1C46A21ABC}" type="slidenum">
              <a:rPr lang="pt-BR" smtClean="0"/>
              <a:t>1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1110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abert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55893" y="1615108"/>
            <a:ext cx="11477643" cy="3096344"/>
          </a:xfrm>
          <a:prstGeom prst="rect">
            <a:avLst/>
          </a:prstGeom>
        </p:spPr>
        <p:txBody>
          <a:bodyPr anchor="ctr"/>
          <a:lstStyle>
            <a:lvl1pPr>
              <a:defRPr sz="6000" b="1">
                <a:solidFill>
                  <a:srgbClr val="69ADE7"/>
                </a:solidFill>
              </a:defRPr>
            </a:lvl1pPr>
          </a:lstStyle>
          <a:p>
            <a:r>
              <a:rPr lang="pt-BR" dirty="0"/>
              <a:t>Nome da Disciplina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0" hasCustomPrompt="1"/>
          </p:nvPr>
        </p:nvSpPr>
        <p:spPr>
          <a:xfrm>
            <a:off x="855893" y="4999043"/>
            <a:ext cx="11477625" cy="3889375"/>
          </a:xfrm>
          <a:prstGeom prst="rect">
            <a:avLst/>
          </a:prstGeom>
        </p:spPr>
        <p:txBody>
          <a:bodyPr anchor="ctr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pt-BR" sz="4951" b="0" kern="1200" dirty="0" smtClean="0">
                <a:solidFill>
                  <a:srgbClr val="69ADE7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lang="pt-BR" sz="4951" b="0" kern="1200" dirty="0" smtClean="0">
                <a:solidFill>
                  <a:srgbClr val="69ADE7"/>
                </a:solidFill>
                <a:latin typeface="+mj-lt"/>
                <a:ea typeface="+mj-ea"/>
                <a:cs typeface="+mj-cs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lang="pt-BR" sz="4951" b="0" kern="1200" dirty="0" smtClean="0">
                <a:solidFill>
                  <a:srgbClr val="69ADE7"/>
                </a:solidFill>
                <a:latin typeface="+mj-lt"/>
                <a:ea typeface="+mj-ea"/>
                <a:cs typeface="+mj-cs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lang="pt-BR" sz="4951" b="0" kern="1200" dirty="0" smtClean="0">
                <a:solidFill>
                  <a:srgbClr val="69ADE7"/>
                </a:solidFill>
                <a:latin typeface="+mj-lt"/>
                <a:ea typeface="+mj-ea"/>
                <a:cs typeface="+mj-cs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lang="pt-BR" sz="4951" b="0" kern="1200" dirty="0">
                <a:solidFill>
                  <a:srgbClr val="69ADE7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pt-BR" dirty="0"/>
              <a:t>Nome do professor</a:t>
            </a:r>
          </a:p>
        </p:txBody>
      </p:sp>
    </p:spTree>
    <p:extLst>
      <p:ext uri="{BB962C8B-B14F-4D97-AF65-F5344CB8AC3E}">
        <p14:creationId xmlns:p14="http://schemas.microsoft.com/office/powerpoint/2010/main" val="15307137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1 linha - conteúdo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6480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+mj-lt"/>
              <a:buNone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4"/>
          </p:nvPr>
        </p:nvSpPr>
        <p:spPr>
          <a:xfrm>
            <a:off x="532800" y="1470968"/>
            <a:ext cx="5637251" cy="8281043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5"/>
          </p:nvPr>
        </p:nvSpPr>
        <p:spPr>
          <a:xfrm>
            <a:off x="7025495" y="1470968"/>
            <a:ext cx="5637251" cy="8281043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3572859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2 linhas - conteúdo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119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4"/>
          </p:nvPr>
        </p:nvSpPr>
        <p:spPr>
          <a:xfrm>
            <a:off x="532800" y="2019298"/>
            <a:ext cx="5637600" cy="77327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5"/>
          </p:nvPr>
        </p:nvSpPr>
        <p:spPr>
          <a:xfrm>
            <a:off x="6981614" y="2019298"/>
            <a:ext cx="5689358" cy="77327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1275487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3 linhas - conteúdo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20750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2"/>
          </p:nvPr>
        </p:nvSpPr>
        <p:spPr>
          <a:xfrm>
            <a:off x="532800" y="2897950"/>
            <a:ext cx="5689358" cy="6854062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5"/>
          </p:nvPr>
        </p:nvSpPr>
        <p:spPr>
          <a:xfrm>
            <a:off x="6981613" y="2897950"/>
            <a:ext cx="5689358" cy="6854062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267069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1 linha - conteúdo +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2"/>
          <p:cNvSpPr>
            <a:spLocks noGrp="1"/>
          </p:cNvSpPr>
          <p:nvPr>
            <p:ph type="pic" sz="quarter" idx="13"/>
          </p:nvPr>
        </p:nvSpPr>
        <p:spPr>
          <a:xfrm>
            <a:off x="7357760" y="1470969"/>
            <a:ext cx="5327726" cy="8281606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532800" y="1470969"/>
            <a:ext cx="6069296" cy="828160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Clique para editar o texto mestre</a:t>
            </a:r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6480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+mj-lt"/>
              <a:buNone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27710484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1 linha - imagem +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2"/>
          <p:cNvSpPr>
            <a:spLocks noGrp="1"/>
          </p:cNvSpPr>
          <p:nvPr>
            <p:ph type="pic" sz="quarter" idx="13"/>
          </p:nvPr>
        </p:nvSpPr>
        <p:spPr>
          <a:xfrm>
            <a:off x="532800" y="1470969"/>
            <a:ext cx="5313211" cy="828104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6621352" y="1470969"/>
            <a:ext cx="6069296" cy="828104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6480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+mj-lt"/>
              <a:buNone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15668223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2 linhas - conteúdo +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2"/>
          <p:cNvSpPr>
            <a:spLocks noGrp="1"/>
          </p:cNvSpPr>
          <p:nvPr>
            <p:ph type="pic" sz="quarter" idx="13"/>
          </p:nvPr>
        </p:nvSpPr>
        <p:spPr>
          <a:xfrm>
            <a:off x="7361795" y="2019298"/>
            <a:ext cx="5313211" cy="7732714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532800" y="2019298"/>
            <a:ext cx="6069296" cy="773271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Clique para editar o texto mestre</a:t>
            </a:r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799" y="324000"/>
            <a:ext cx="9360001" cy="119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11726535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2 linhas - imagem +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2"/>
          <p:cNvSpPr>
            <a:spLocks noGrp="1"/>
          </p:cNvSpPr>
          <p:nvPr>
            <p:ph type="pic" sz="quarter" idx="13"/>
          </p:nvPr>
        </p:nvSpPr>
        <p:spPr>
          <a:xfrm>
            <a:off x="518286" y="2019298"/>
            <a:ext cx="5313211" cy="7732714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6601885" y="2019298"/>
            <a:ext cx="6069296" cy="773271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799" y="324000"/>
            <a:ext cx="9360001" cy="119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36770634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3 linhas - conteúdo +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Imagem 2"/>
          <p:cNvSpPr>
            <a:spLocks noGrp="1"/>
          </p:cNvSpPr>
          <p:nvPr>
            <p:ph type="pic" sz="quarter" idx="15"/>
          </p:nvPr>
        </p:nvSpPr>
        <p:spPr>
          <a:xfrm>
            <a:off x="7357265" y="2897950"/>
            <a:ext cx="5342735" cy="6854061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7" hasCustomPrompt="1"/>
          </p:nvPr>
        </p:nvSpPr>
        <p:spPr>
          <a:xfrm>
            <a:off x="518781" y="2897950"/>
            <a:ext cx="6069296" cy="68540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532800" y="324000"/>
            <a:ext cx="9360000" cy="20750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9897420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3 linhas - imagem +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2"/>
          <p:cNvSpPr>
            <a:spLocks noGrp="1"/>
          </p:cNvSpPr>
          <p:nvPr>
            <p:ph type="pic" sz="quarter" idx="13"/>
          </p:nvPr>
        </p:nvSpPr>
        <p:spPr>
          <a:xfrm>
            <a:off x="518286" y="2897949"/>
            <a:ext cx="5313211" cy="6854061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6605147" y="2911997"/>
            <a:ext cx="6069296" cy="684001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532800" y="324000"/>
            <a:ext cx="9360000" cy="20750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22734013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73207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3"/>
          </p:nvPr>
        </p:nvSpPr>
        <p:spPr>
          <a:xfrm>
            <a:off x="532799" y="968400"/>
            <a:ext cx="12138172" cy="8783612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8759284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663440" y="9566910"/>
            <a:ext cx="4389120" cy="51435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85800" y="9566910"/>
            <a:ext cx="3154680" cy="51435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7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9875520" y="9566910"/>
            <a:ext cx="3154680" cy="51435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8043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5825" y="914400"/>
            <a:ext cx="11658600" cy="17145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Rectangle 6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903745" y="9789320"/>
            <a:ext cx="2540793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143B33-6847-4A29-9EF6-6EC9B065D04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734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37587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4AD9F-48D8-4EBB-B5F9-968794A6770D}" type="datetimeFigureOut">
              <a:rPr lang="pt-BR" smtClean="0"/>
              <a:t>07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3D7D0-2ECA-451A-B148-8EE7A202F6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9803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700" y="2514602"/>
            <a:ext cx="11658600" cy="288607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5829300"/>
            <a:ext cx="9601200" cy="2628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9534526"/>
            <a:ext cx="3200400" cy="547688"/>
          </a:xfrm>
          <a:prstGeom prst="rect">
            <a:avLst/>
          </a:prstGeom>
        </p:spPr>
        <p:txBody>
          <a:bodyPr/>
          <a:lstStyle/>
          <a:p>
            <a:fld id="{310E4769-E1E3-4882-AE61-93CBE5E44E16}" type="datetime1">
              <a:rPr lang="en-US" smtClean="0"/>
              <a:t>3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6300" y="9534526"/>
            <a:ext cx="4343400" cy="547688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29800" y="9534526"/>
            <a:ext cx="3200400" cy="547688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9212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beçalho da Seçã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83470" y="6610351"/>
            <a:ext cx="11658600" cy="2043113"/>
          </a:xfrm>
          <a:prstGeom prst="rect">
            <a:avLst/>
          </a:prstGeom>
        </p:spPr>
        <p:txBody>
          <a:bodyPr anchor="t"/>
          <a:lstStyle>
            <a:lvl1pPr algn="l">
              <a:defRPr sz="6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85800" y="9534526"/>
            <a:ext cx="3200400" cy="5476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F2ADCB-0E07-482B-B8F4-21BA4DA8111E}" type="datetimeFigureOut">
              <a:rPr lang="pt-BR"/>
              <a:pPr>
                <a:defRPr/>
              </a:pPr>
              <a:t>07/03/2024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686300" y="9534526"/>
            <a:ext cx="4343400" cy="5476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829800" y="9534526"/>
            <a:ext cx="3200400" cy="5476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0FF0B6-3B15-4D21-8D70-6DD87B80804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152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5805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 userDrawn="1"/>
        </p:nvSpPr>
        <p:spPr>
          <a:xfrm>
            <a:off x="0" y="-41076"/>
            <a:ext cx="13716000" cy="19442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25"/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92035" y="66937"/>
            <a:ext cx="82752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pt-BR" sz="2700" b="1">
                <a:solidFill>
                  <a:srgbClr val="1D1B36"/>
                </a:solidFill>
                <a:latin typeface="Rockwell" panose="02060603020205020403" pitchFamily="18" charset="0"/>
                <a:ea typeface="+mn-ea"/>
                <a:cs typeface="+mn-cs"/>
              </a:defRPr>
            </a:lvl1pPr>
          </a:lstStyle>
          <a:p>
            <a:pPr marL="0" lvl="0"/>
            <a:r>
              <a:rPr lang="pt-BR" dirty="0"/>
              <a:t>Clique para editar o título mestre</a:t>
            </a:r>
          </a:p>
        </p:txBody>
      </p:sp>
      <p:sp>
        <p:nvSpPr>
          <p:cNvPr id="9" name="Espaço Reservado para Texto 11"/>
          <p:cNvSpPr>
            <a:spLocks noGrp="1"/>
          </p:cNvSpPr>
          <p:nvPr>
            <p:ph type="body" sz="quarter" idx="10"/>
          </p:nvPr>
        </p:nvSpPr>
        <p:spPr>
          <a:xfrm>
            <a:off x="492034" y="737134"/>
            <a:ext cx="3738524" cy="4039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buNone/>
              <a:defRPr lang="pt-BR" sz="2025" smtClean="0">
                <a:solidFill>
                  <a:srgbClr val="1D1B36"/>
                </a:solidFill>
                <a:latin typeface="Rockwell" panose="02060603020205020403" pitchFamily="18" charset="0"/>
              </a:defRPr>
            </a:lvl1pPr>
            <a:lvl2pPr>
              <a:defRPr lang="pt-BR" sz="2025" smtClean="0"/>
            </a:lvl2pPr>
            <a:lvl3pPr>
              <a:defRPr lang="pt-BR" sz="2025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fontAlgn="base">
              <a:spcBef>
                <a:spcPct val="0"/>
              </a:spcBef>
              <a:spcAft>
                <a:spcPct val="0"/>
              </a:spcAft>
            </a:pPr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845678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85664" y="411957"/>
            <a:ext cx="8208540" cy="951123"/>
          </a:xfrm>
          <a:prstGeom prst="rect">
            <a:avLst/>
          </a:prstGeom>
        </p:spPr>
        <p:txBody>
          <a:bodyPr/>
          <a:lstStyle>
            <a:lvl1pPr algn="l">
              <a:defRPr sz="1800" b="1" cap="all" baseline="0">
                <a:solidFill>
                  <a:schemeClr val="bg1"/>
                </a:solidFill>
                <a:latin typeface="HelveticaNeueLT Std Cn" pitchFamily="34" charset="0"/>
                <a:ea typeface="HelveticaNeueLT Std Cn" pitchFamily="34" charset="0"/>
                <a:cs typeface="HelveticaNeueLT Std Cn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7" name="Espaço Reservado para Conteúdo 6"/>
          <p:cNvSpPr>
            <a:spLocks noGrp="1"/>
          </p:cNvSpPr>
          <p:nvPr>
            <p:ph sz="quarter" idx="10"/>
          </p:nvPr>
        </p:nvSpPr>
        <p:spPr>
          <a:xfrm>
            <a:off x="485403" y="2011152"/>
            <a:ext cx="12745305" cy="7668852"/>
          </a:xfrm>
          <a:prstGeom prst="rect">
            <a:avLst/>
          </a:prstGeom>
        </p:spPr>
        <p:txBody>
          <a:bodyPr/>
          <a:lstStyle>
            <a:lvl1pPr>
              <a:defRPr sz="1575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1pPr>
            <a:lvl2pPr>
              <a:defRPr sz="1575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2pPr>
            <a:lvl3pPr>
              <a:defRPr sz="1575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3pPr>
            <a:lvl4pPr>
              <a:defRPr sz="1575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4pPr>
            <a:lvl5pPr>
              <a:defRPr sz="1575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6997805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649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Imagem 2"/>
          <p:cNvSpPr>
            <a:spLocks noGrp="1"/>
          </p:cNvSpPr>
          <p:nvPr>
            <p:ph type="pic" sz="quarter" idx="15"/>
          </p:nvPr>
        </p:nvSpPr>
        <p:spPr>
          <a:xfrm>
            <a:off x="532800" y="968400"/>
            <a:ext cx="12138171" cy="878361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26840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667518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5831" y="2564608"/>
            <a:ext cx="11830050" cy="4279106"/>
          </a:xfrm>
          <a:prstGeom prst="rect">
            <a:avLst/>
          </a:prstGeom>
        </p:spPr>
        <p:txBody>
          <a:bodyPr anchor="b"/>
          <a:lstStyle>
            <a:lvl1pPr>
              <a:defRPr sz="675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5831" y="6884195"/>
            <a:ext cx="11830050" cy="2250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514350" indent="0">
              <a:buNone/>
              <a:defRPr sz="2250">
                <a:solidFill>
                  <a:schemeClr val="tx1">
                    <a:tint val="75000"/>
                  </a:schemeClr>
                </a:solidFill>
              </a:defRPr>
            </a:lvl2pPr>
            <a:lvl3pPr marL="1028700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3pPr>
            <a:lvl4pPr marL="15430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057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5717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0861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6004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1148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2975" y="9534526"/>
            <a:ext cx="3086100" cy="547688"/>
          </a:xfrm>
          <a:prstGeom prst="rect">
            <a:avLst/>
          </a:prstGeom>
        </p:spPr>
        <p:txBody>
          <a:bodyPr/>
          <a:lstStyle/>
          <a:p>
            <a:fld id="{EF4DA381-94D8-4439-A892-A014369F8D2A}" type="datetimeFigureOut">
              <a:rPr lang="pt-BR" smtClean="0">
                <a:solidFill>
                  <a:prstClr val="black"/>
                </a:solidFill>
              </a:rPr>
              <a:pPr/>
              <a:t>07/03/2024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43425" y="9534526"/>
            <a:ext cx="4629150" cy="547688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86925" y="9534526"/>
            <a:ext cx="3086100" cy="547688"/>
          </a:xfrm>
          <a:prstGeom prst="rect">
            <a:avLst/>
          </a:prstGeom>
        </p:spPr>
        <p:txBody>
          <a:bodyPr/>
          <a:lstStyle/>
          <a:p>
            <a:fld id="{306896D6-F397-47B9-9AF4-2871A2F1DF3B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32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716000" cy="1028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0" y="1795463"/>
            <a:ext cx="13013532" cy="2159795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38100" dist="635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algn="ctr">
              <a:spcAft>
                <a:spcPct val="30000"/>
              </a:spcAft>
              <a:defRPr/>
            </a:pPr>
            <a:endParaRPr lang="pt-BR">
              <a:solidFill>
                <a:srgbClr val="FFFFFF"/>
              </a:solidFill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6" name="Rectangle 6"/>
          <p:cNvSpPr/>
          <p:nvPr userDrawn="1"/>
        </p:nvSpPr>
        <p:spPr>
          <a:xfrm>
            <a:off x="2928937" y="1471613"/>
            <a:ext cx="9870282" cy="2852738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381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30000"/>
              </a:spcAft>
              <a:defRPr/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0315575" y="1662113"/>
            <a:ext cx="2266950" cy="247173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srgbClr val="00000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hangingPunct="1">
              <a:spcAft>
                <a:spcPct val="30000"/>
              </a:spcAft>
              <a:defRPr/>
            </a:pPr>
            <a:endParaRPr lang="en-US" altLang="pt-BR">
              <a:solidFill>
                <a:srgbClr val="FFFFFF"/>
              </a:solidFill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125514" y="1542635"/>
            <a:ext cx="7185135" cy="1569660"/>
          </a:xfrm>
        </p:spPr>
        <p:txBody>
          <a:bodyPr>
            <a:spAutoFit/>
          </a:bodyPr>
          <a:lstStyle>
            <a:lvl1pPr algn="l">
              <a:defRPr sz="4800">
                <a:solidFill>
                  <a:srgbClr val="92D05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125514" y="2422279"/>
            <a:ext cx="7216665" cy="1200329"/>
          </a:xfrm>
        </p:spPr>
        <p:txBody>
          <a:bodyPr anchor="ctr">
            <a:sp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  <a:lvl2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324459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1963060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958918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95999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1 linha -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6480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+mj-lt"/>
              <a:buNone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</p:txBody>
      </p:sp>
      <p:sp>
        <p:nvSpPr>
          <p:cNvPr id="5" name="Espaço Reservado para Texto 2"/>
          <p:cNvSpPr>
            <a:spLocks noGrp="1"/>
          </p:cNvSpPr>
          <p:nvPr>
            <p:ph type="body" sz="quarter" idx="13"/>
          </p:nvPr>
        </p:nvSpPr>
        <p:spPr>
          <a:xfrm>
            <a:off x="532799" y="1470968"/>
            <a:ext cx="12138172" cy="8281044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3058763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2 linhas -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119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  <p:sp>
        <p:nvSpPr>
          <p:cNvPr id="5" name="Espaço Reservado para Texto 2"/>
          <p:cNvSpPr>
            <a:spLocks noGrp="1"/>
          </p:cNvSpPr>
          <p:nvPr>
            <p:ph type="body" sz="quarter" idx="13"/>
          </p:nvPr>
        </p:nvSpPr>
        <p:spPr>
          <a:xfrm>
            <a:off x="532800" y="2043896"/>
            <a:ext cx="12138171" cy="7708116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1539801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3 linhas -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20750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  <p:sp>
        <p:nvSpPr>
          <p:cNvPr id="5" name="Espaço Reservado para Texto 2"/>
          <p:cNvSpPr>
            <a:spLocks noGrp="1"/>
          </p:cNvSpPr>
          <p:nvPr>
            <p:ph type="body" sz="quarter" idx="13"/>
          </p:nvPr>
        </p:nvSpPr>
        <p:spPr>
          <a:xfrm>
            <a:off x="532799" y="2905352"/>
            <a:ext cx="12138172" cy="68466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08990" indent="-303602" algn="l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2493450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1 linha -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Imagem 2"/>
          <p:cNvSpPr>
            <a:spLocks noGrp="1"/>
          </p:cNvSpPr>
          <p:nvPr>
            <p:ph type="pic" sz="quarter" idx="14"/>
          </p:nvPr>
        </p:nvSpPr>
        <p:spPr>
          <a:xfrm>
            <a:off x="532799" y="1470968"/>
            <a:ext cx="12138172" cy="828143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6480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+mj-lt"/>
              <a:buNone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</p:txBody>
      </p:sp>
    </p:spTree>
    <p:extLst>
      <p:ext uri="{BB962C8B-B14F-4D97-AF65-F5344CB8AC3E}">
        <p14:creationId xmlns:p14="http://schemas.microsoft.com/office/powerpoint/2010/main" val="381486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2 linhas -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119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  <p:sp>
        <p:nvSpPr>
          <p:cNvPr id="5" name="Espaço Reservado para Imagem 2"/>
          <p:cNvSpPr>
            <a:spLocks noGrp="1"/>
          </p:cNvSpPr>
          <p:nvPr>
            <p:ph type="pic" sz="quarter" idx="14"/>
          </p:nvPr>
        </p:nvSpPr>
        <p:spPr>
          <a:xfrm>
            <a:off x="532800" y="2020648"/>
            <a:ext cx="12138171" cy="7731364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06373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3 linhas -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" y="324000"/>
            <a:ext cx="9360000" cy="20750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10286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+mj-lt"/>
              <a:buNone/>
              <a:tabLst/>
              <a:defRPr sz="4050" b="1" cap="none" baseline="0">
                <a:solidFill>
                  <a:srgbClr val="69ADE7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 marL="205359" indent="0" algn="just">
              <a:lnSpc>
                <a:spcPts val="2363"/>
              </a:lnSpc>
              <a:spcBef>
                <a:spcPts val="0"/>
              </a:spcBef>
              <a:buClr>
                <a:srgbClr val="7CAEC5"/>
              </a:buClr>
              <a:buFont typeface="Arial" pitchFamily="34" charset="0"/>
              <a:buNone/>
              <a:defRPr sz="1800"/>
            </a:lvl2pPr>
            <a:lvl3pPr>
              <a:lnSpc>
                <a:spcPts val="2587"/>
              </a:lnSpc>
              <a:spcBef>
                <a:spcPts val="0"/>
              </a:spcBef>
              <a:defRPr sz="2024"/>
            </a:lvl3pPr>
            <a:lvl4pPr>
              <a:lnSpc>
                <a:spcPts val="2587"/>
              </a:lnSpc>
              <a:spcBef>
                <a:spcPts val="0"/>
              </a:spcBef>
              <a:defRPr sz="2024"/>
            </a:lvl4pPr>
            <a:lvl5pPr>
              <a:lnSpc>
                <a:spcPts val="2587"/>
              </a:lnSpc>
              <a:spcBef>
                <a:spcPts val="0"/>
              </a:spcBef>
              <a:defRPr sz="2024"/>
            </a:lvl5pPr>
          </a:lstStyle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  <a:p>
            <a:r>
              <a:rPr lang="pt-BR" dirty="0"/>
              <a:t>&lt;Título do slide&gt;</a:t>
            </a:r>
          </a:p>
        </p:txBody>
      </p:sp>
      <p:sp>
        <p:nvSpPr>
          <p:cNvPr id="5" name="Espaço Reservado para Imagem 2"/>
          <p:cNvSpPr>
            <a:spLocks noGrp="1"/>
          </p:cNvSpPr>
          <p:nvPr>
            <p:ph type="pic" sz="quarter" idx="14"/>
          </p:nvPr>
        </p:nvSpPr>
        <p:spPr>
          <a:xfrm>
            <a:off x="532800" y="2897948"/>
            <a:ext cx="12138171" cy="68540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no ícone para adicionar um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35044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" y="0"/>
            <a:ext cx="13687425" cy="1028700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0488" y="490427"/>
            <a:ext cx="1440160" cy="25976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51" r:id="rId2"/>
    <p:sldLayoutId id="2147484356" r:id="rId3"/>
    <p:sldLayoutId id="2147484315" r:id="rId4"/>
    <p:sldLayoutId id="2147484343" r:id="rId5"/>
    <p:sldLayoutId id="2147484344" r:id="rId6"/>
    <p:sldLayoutId id="2147484339" r:id="rId7"/>
    <p:sldLayoutId id="2147484349" r:id="rId8"/>
    <p:sldLayoutId id="2147484350" r:id="rId9"/>
    <p:sldLayoutId id="2147484340" r:id="rId10"/>
    <p:sldLayoutId id="2147484345" r:id="rId11"/>
    <p:sldLayoutId id="2147484346" r:id="rId12"/>
    <p:sldLayoutId id="2147484357" r:id="rId13"/>
    <p:sldLayoutId id="2147484358" r:id="rId14"/>
    <p:sldLayoutId id="2147484359" r:id="rId15"/>
    <p:sldLayoutId id="2147484360" r:id="rId16"/>
    <p:sldLayoutId id="2147484361" r:id="rId17"/>
    <p:sldLayoutId id="2147484362" r:id="rId18"/>
    <p:sldLayoutId id="2147484363" r:id="rId19"/>
    <p:sldLayoutId id="2147484365" r:id="rId20"/>
    <p:sldLayoutId id="2147484367" r:id="rId21"/>
    <p:sldLayoutId id="2147484369" r:id="rId22"/>
    <p:sldLayoutId id="2147484370" r:id="rId23"/>
    <p:sldLayoutId id="2147484432" r:id="rId24"/>
    <p:sldLayoutId id="2147484500" r:id="rId25"/>
    <p:sldLayoutId id="2147484504" r:id="rId26"/>
    <p:sldLayoutId id="2147484505" r:id="rId27"/>
    <p:sldLayoutId id="2147484506" r:id="rId28"/>
    <p:sldLayoutId id="2147484507" r:id="rId29"/>
    <p:sldLayoutId id="2147484509" r:id="rId30"/>
    <p:sldLayoutId id="2147484551" r:id="rId3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95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5pPr>
      <a:lvl6pPr marL="514287"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6pPr>
      <a:lvl7pPr marL="1028573"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7pPr>
      <a:lvl8pPr marL="1542859"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8pPr>
      <a:lvl9pPr marL="2057144" algn="ctr" rtl="0" eaLnBrk="1" fontAlgn="base" hangingPunct="1">
        <a:spcBef>
          <a:spcPct val="0"/>
        </a:spcBef>
        <a:spcAft>
          <a:spcPct val="0"/>
        </a:spcAft>
        <a:defRPr sz="4951">
          <a:solidFill>
            <a:schemeClr val="tx1"/>
          </a:solidFill>
          <a:latin typeface="Calibri" pitchFamily="34" charset="0"/>
        </a:defRPr>
      </a:lvl9pPr>
    </p:titleStyle>
    <p:bodyStyle>
      <a:lvl1pPr marL="385715" indent="-38571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35715" indent="-321429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150" kern="1200">
          <a:solidFill>
            <a:schemeClr val="tx1"/>
          </a:solidFill>
          <a:latin typeface="+mn-lt"/>
          <a:ea typeface="+mn-ea"/>
          <a:cs typeface="+mn-cs"/>
        </a:defRPr>
      </a:lvl2pPr>
      <a:lvl3pPr marL="1285716" indent="-257144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0" indent="-257144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249" kern="1200">
          <a:solidFill>
            <a:schemeClr val="tx1"/>
          </a:solidFill>
          <a:latin typeface="+mn-lt"/>
          <a:ea typeface="+mn-ea"/>
          <a:cs typeface="+mn-cs"/>
        </a:defRPr>
      </a:lvl4pPr>
      <a:lvl5pPr marL="2314289" indent="-257144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249" kern="1200">
          <a:solidFill>
            <a:schemeClr val="tx1"/>
          </a:solidFill>
          <a:latin typeface="+mn-lt"/>
          <a:ea typeface="+mn-ea"/>
          <a:cs typeface="+mn-cs"/>
        </a:defRPr>
      </a:lvl5pPr>
      <a:lvl6pPr marL="2828574" indent="-257144" algn="l" defTabSz="1028573" rtl="0" eaLnBrk="1" latinLnBrk="0" hangingPunct="1">
        <a:spcBef>
          <a:spcPct val="20000"/>
        </a:spcBef>
        <a:buFont typeface="Arial" pitchFamily="34" charset="0"/>
        <a:buChar char="•"/>
        <a:defRPr sz="2249" kern="1200">
          <a:solidFill>
            <a:schemeClr val="tx1"/>
          </a:solidFill>
          <a:latin typeface="+mn-lt"/>
          <a:ea typeface="+mn-ea"/>
          <a:cs typeface="+mn-cs"/>
        </a:defRPr>
      </a:lvl6pPr>
      <a:lvl7pPr marL="3342860" indent="-257144" algn="l" defTabSz="1028573" rtl="0" eaLnBrk="1" latinLnBrk="0" hangingPunct="1">
        <a:spcBef>
          <a:spcPct val="20000"/>
        </a:spcBef>
        <a:buFont typeface="Arial" pitchFamily="34" charset="0"/>
        <a:buChar char="•"/>
        <a:defRPr sz="2249" kern="1200">
          <a:solidFill>
            <a:schemeClr val="tx1"/>
          </a:solidFill>
          <a:latin typeface="+mn-lt"/>
          <a:ea typeface="+mn-ea"/>
          <a:cs typeface="+mn-cs"/>
        </a:defRPr>
      </a:lvl7pPr>
      <a:lvl8pPr marL="3857147" indent="-257144" algn="l" defTabSz="1028573" rtl="0" eaLnBrk="1" latinLnBrk="0" hangingPunct="1">
        <a:spcBef>
          <a:spcPct val="20000"/>
        </a:spcBef>
        <a:buFont typeface="Arial" pitchFamily="34" charset="0"/>
        <a:buChar char="•"/>
        <a:defRPr sz="2249" kern="1200">
          <a:solidFill>
            <a:schemeClr val="tx1"/>
          </a:solidFill>
          <a:latin typeface="+mn-lt"/>
          <a:ea typeface="+mn-ea"/>
          <a:cs typeface="+mn-cs"/>
        </a:defRPr>
      </a:lvl8pPr>
      <a:lvl9pPr marL="4371432" indent="-257144" algn="l" defTabSz="1028573" rtl="0" eaLnBrk="1" latinLnBrk="0" hangingPunct="1">
        <a:spcBef>
          <a:spcPct val="20000"/>
        </a:spcBef>
        <a:buFont typeface="Arial" pitchFamily="34" charset="0"/>
        <a:buChar char="•"/>
        <a:defRPr sz="22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1pPr>
      <a:lvl2pPr marL="514287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2pPr>
      <a:lvl3pPr marL="1028573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3pPr>
      <a:lvl4pPr marL="1542859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4pPr>
      <a:lvl5pPr marL="2057144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5pPr>
      <a:lvl6pPr marL="2571431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6pPr>
      <a:lvl7pPr marL="3085719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2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8pPr>
      <a:lvl9pPr marL="4114289" algn="l" defTabSz="1028573" rtl="0" eaLnBrk="1" latinLnBrk="0" hangingPunct="1">
        <a:defRPr sz="20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007" userDrawn="1">
          <p15:clr>
            <a:srgbClr val="F26B43"/>
          </p15:clr>
        </p15:guide>
        <p15:guide id="2" pos="43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716000" cy="1028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214438"/>
            <a:ext cx="123444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3074195"/>
            <a:ext cx="12344400" cy="601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pic>
        <p:nvPicPr>
          <p:cNvPr id="1029" name="Picture 6" descr="S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66"/>
          <a:stretch>
            <a:fillRect/>
          </a:stretch>
        </p:blipFill>
        <p:spPr bwMode="auto">
          <a:xfrm>
            <a:off x="0" y="9172575"/>
            <a:ext cx="13716000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5" descr="S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444"/>
          <a:stretch>
            <a:fillRect/>
          </a:stretch>
        </p:blipFill>
        <p:spPr bwMode="auto">
          <a:xfrm>
            <a:off x="0" y="0"/>
            <a:ext cx="1371600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45" t="91112"/>
          <a:stretch>
            <a:fillRect/>
          </a:stretch>
        </p:blipFill>
        <p:spPr bwMode="auto">
          <a:xfrm>
            <a:off x="11925300" y="9372600"/>
            <a:ext cx="17907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9909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4" r:id="rId1"/>
    <p:sldLayoutId id="2147484425" r:id="rId2"/>
    <p:sldLayoutId id="2147484426" r:id="rId3"/>
    <p:sldLayoutId id="2147484427" r:id="rId4"/>
  </p:sldLayoutIdLst>
  <p:transition>
    <p:fade/>
  </p:transition>
  <p:txStyles>
    <p:titleStyle>
      <a:lvl1pPr algn="l" rtl="0" eaLnBrk="0" fontAlgn="base" hangingPunct="0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5pPr>
      <a:lvl6pPr marL="685800" algn="l" rtl="0" fontAlgn="base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6pPr>
      <a:lvl7pPr marL="1371600" algn="l" rtl="0" fontAlgn="base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7pPr>
      <a:lvl8pPr marL="2057400" algn="l" rtl="0" fontAlgn="base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8pPr>
      <a:lvl9pPr marL="2743200" algn="l" rtl="0" fontAlgn="base">
        <a:spcBef>
          <a:spcPct val="0"/>
        </a:spcBef>
        <a:spcAft>
          <a:spcPct val="30000"/>
        </a:spcAft>
        <a:defRPr sz="6600" b="1">
          <a:solidFill>
            <a:schemeClr val="tx2"/>
          </a:solidFill>
          <a:latin typeface="Century Gothic" pitchFamily="34" charset="0"/>
        </a:defRPr>
      </a:lvl9pPr>
    </p:titleStyle>
    <p:bodyStyle>
      <a:lvl1pPr marL="514350" indent="-514350" algn="l" rtl="0" eaLnBrk="0" fontAlgn="base" hangingPunct="0">
        <a:spcBef>
          <a:spcPct val="20000"/>
        </a:spcBef>
        <a:spcAft>
          <a:spcPct val="30000"/>
        </a:spcAft>
        <a:buFont typeface="Wingdings" panose="05000000000000000000" pitchFamily="2" charset="2"/>
        <a:buChar char="§"/>
        <a:defRPr sz="3600">
          <a:solidFill>
            <a:schemeClr val="tx1"/>
          </a:solidFill>
          <a:latin typeface="+mn-lt"/>
          <a:ea typeface="+mn-ea"/>
          <a:cs typeface="+mn-cs"/>
        </a:defRPr>
      </a:lvl1pPr>
      <a:lvl2pPr marL="1114425" indent="-428625" algn="l" rtl="0" eaLnBrk="0" fontAlgn="base" hangingPunct="0">
        <a:spcBef>
          <a:spcPct val="20000"/>
        </a:spcBef>
        <a:spcAft>
          <a:spcPct val="30000"/>
        </a:spcAft>
        <a:buFont typeface="Wingdings" panose="05000000000000000000" pitchFamily="2" charset="2"/>
        <a:buChar char="§"/>
        <a:defRPr sz="3000">
          <a:solidFill>
            <a:schemeClr val="tx1"/>
          </a:solidFill>
          <a:latin typeface="+mn-lt"/>
        </a:defRPr>
      </a:lvl2pPr>
      <a:lvl3pPr marL="1714500" indent="-342900" algn="l" rtl="0" eaLnBrk="0" fontAlgn="base" hangingPunct="0">
        <a:spcBef>
          <a:spcPct val="20000"/>
        </a:spcBef>
        <a:spcAft>
          <a:spcPct val="30000"/>
        </a:spcAft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3pPr>
      <a:lvl4pPr marL="2400300" indent="-342900" algn="l" rtl="0" eaLnBrk="0" fontAlgn="base" hangingPunct="0">
        <a:spcBef>
          <a:spcPct val="20000"/>
        </a:spcBef>
        <a:spcAft>
          <a:spcPct val="30000"/>
        </a:spcAft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4pPr>
      <a:lvl5pPr marL="3086100" indent="-342900" algn="l" rtl="0" eaLnBrk="0" fontAlgn="base" hangingPunct="0">
        <a:spcBef>
          <a:spcPct val="20000"/>
        </a:spcBef>
        <a:spcAft>
          <a:spcPct val="30000"/>
        </a:spcAft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5pPr>
      <a:lvl6pPr marL="3771900" indent="-342900" algn="l" rtl="0" fontAlgn="base">
        <a:spcBef>
          <a:spcPct val="20000"/>
        </a:spcBef>
        <a:spcAft>
          <a:spcPct val="30000"/>
        </a:spcAft>
        <a:buChar char="»"/>
        <a:defRPr sz="2400">
          <a:solidFill>
            <a:schemeClr val="tx1"/>
          </a:solidFill>
          <a:latin typeface="+mn-lt"/>
        </a:defRPr>
      </a:lvl6pPr>
      <a:lvl7pPr marL="4457700" indent="-342900" algn="l" rtl="0" fontAlgn="base">
        <a:spcBef>
          <a:spcPct val="20000"/>
        </a:spcBef>
        <a:spcAft>
          <a:spcPct val="30000"/>
        </a:spcAft>
        <a:buChar char="»"/>
        <a:defRPr sz="2400">
          <a:solidFill>
            <a:schemeClr val="tx1"/>
          </a:solidFill>
          <a:latin typeface="+mn-lt"/>
        </a:defRPr>
      </a:lvl7pPr>
      <a:lvl8pPr marL="5143500" indent="-342900" algn="l" rtl="0" fontAlgn="base">
        <a:spcBef>
          <a:spcPct val="20000"/>
        </a:spcBef>
        <a:spcAft>
          <a:spcPct val="30000"/>
        </a:spcAft>
        <a:buChar char="»"/>
        <a:defRPr sz="2400">
          <a:solidFill>
            <a:schemeClr val="tx1"/>
          </a:solidFill>
          <a:latin typeface="+mn-lt"/>
        </a:defRPr>
      </a:lvl8pPr>
      <a:lvl9pPr marL="5829300" indent="-342900" algn="l" rtl="0" fontAlgn="base">
        <a:spcBef>
          <a:spcPct val="20000"/>
        </a:spcBef>
        <a:spcAft>
          <a:spcPct val="3000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1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1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26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3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3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6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1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23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23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23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1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2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2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3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hyperlink" Target="mailto:solangepose@uol.com.br" TargetMode="Externa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0.png"/><Relationship Id="rId4" Type="http://schemas.openxmlformats.org/officeDocument/2006/relationships/image" Target="../media/image29.gi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3.xml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33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9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2.xml"/></Relationships>
</file>

<file path=ppt/slides/_rels/slide6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4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9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3.jpe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30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8.svg"/><Relationship Id="rId4" Type="http://schemas.openxmlformats.org/officeDocument/2006/relationships/image" Target="../media/image5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3.wmf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6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31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6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8.jp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9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1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1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1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1.png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1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1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2.png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593304" y="2623220"/>
            <a:ext cx="11477643" cy="3096344"/>
          </a:xfrm>
        </p:spPr>
        <p:txBody>
          <a:bodyPr/>
          <a:lstStyle/>
          <a:p>
            <a:r>
              <a:rPr lang="pt-BR" dirty="0"/>
              <a:t>Gestão da Mudança e Cultura Organizacional</a:t>
            </a:r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09328" y="6397625"/>
            <a:ext cx="11477625" cy="3889375"/>
          </a:xfrm>
        </p:spPr>
        <p:txBody>
          <a:bodyPr/>
          <a:lstStyle/>
          <a:p>
            <a:r>
              <a:rPr lang="pt-BR" sz="4400" dirty="0"/>
              <a:t>Solange Pose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3095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esultado de imagem para imagem waz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05" r="22463"/>
          <a:stretch/>
        </p:blipFill>
        <p:spPr bwMode="auto">
          <a:xfrm>
            <a:off x="7158886" y="2191173"/>
            <a:ext cx="5603770" cy="655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4"/>
          <a:srcRect l="9172" r="9007"/>
          <a:stretch/>
        </p:blipFill>
        <p:spPr>
          <a:xfrm>
            <a:off x="275672" y="2983261"/>
            <a:ext cx="6438312" cy="4392488"/>
          </a:xfrm>
          <a:prstGeom prst="rect">
            <a:avLst/>
          </a:prstGeom>
        </p:spPr>
      </p:pic>
      <p:sp>
        <p:nvSpPr>
          <p:cNvPr id="6" name="Espaço Reservado para Texto 1"/>
          <p:cNvSpPr txBox="1">
            <a:spLocks/>
          </p:cNvSpPr>
          <p:nvPr/>
        </p:nvSpPr>
        <p:spPr>
          <a:xfrm>
            <a:off x="475721" y="751012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delo mental</a:t>
            </a:r>
          </a:p>
        </p:txBody>
      </p:sp>
    </p:spTree>
    <p:extLst>
      <p:ext uri="{BB962C8B-B14F-4D97-AF65-F5344CB8AC3E}">
        <p14:creationId xmlns:p14="http://schemas.microsoft.com/office/powerpoint/2010/main" val="16191771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2"/>
          <p:cNvGraphicFramePr>
            <a:graphicFrameLocks noGrp="1"/>
          </p:cNvGraphicFramePr>
          <p:nvPr/>
        </p:nvGraphicFramePr>
        <p:xfrm>
          <a:off x="233264" y="2153806"/>
          <a:ext cx="10153128" cy="6604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25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498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48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895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38978">
                <a:tc>
                  <a:txBody>
                    <a:bodyPr/>
                    <a:lstStyle/>
                    <a:p>
                      <a:pPr algn="ctr"/>
                      <a:r>
                        <a:rPr lang="pt-BR" sz="18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keholder</a:t>
                      </a:r>
                      <a:endParaRPr lang="pt-BR" sz="1800" b="0" i="1" noProof="0" dirty="0">
                        <a:solidFill>
                          <a:schemeClr val="tx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osiçã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volvimento/impac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ualificação</a:t>
                      </a:r>
                    </a:p>
                    <a:p>
                      <a:pPr algn="ctr"/>
                      <a:r>
                        <a:rPr lang="pt-BR" sz="1800" b="0" noProof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A,B,M,D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tivo</a:t>
                      </a:r>
                    </a:p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D,C,M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2602">
                <a:tc>
                  <a:txBody>
                    <a:bodyPr/>
                    <a:lstStyle/>
                    <a:p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ice Presidente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Dir A/</a:t>
                      </a:r>
                      <a:r>
                        <a:rPr lang="pt-BR" sz="1800" b="0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</a:t>
                      </a: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iabilizou o orçamento do proje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liad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36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tor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</a:t>
                      </a:r>
                      <a:r>
                        <a:rPr lang="pt-BR" sz="1800" b="0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</a:t>
                      </a: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realizar o projeto em uma única entreg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loque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úvida se manteremos o orçamento caso as entregas sejam por bloco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3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erintendente  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i="1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lang="pt-BR" sz="18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onsor</a:t>
                      </a:r>
                      <a:r>
                        <a:rPr lang="pt-BR" sz="1800" b="0" i="1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o projeto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Ger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realizar o projeto em 2 entrega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liad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6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rente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st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realizar o projeto em 3 entrega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aceler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do das entregas demorarem e consequentemente perder apoio na Cia.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86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erintendente B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O do canal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proteger seu </a:t>
                      </a:r>
                      <a:r>
                        <a:rPr lang="pt-BR" sz="18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oadmap</a:t>
                      </a:r>
                      <a:endParaRPr lang="pt-BR" sz="1800" b="0" i="1" noProof="0" dirty="0">
                        <a:solidFill>
                          <a:schemeClr val="tx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loque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do de perder priorização em seu </a:t>
                      </a:r>
                      <a:r>
                        <a:rPr lang="pt-BR" sz="18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oadmap</a:t>
                      </a:r>
                      <a:r>
                        <a:rPr lang="pt-BR" sz="18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e ser “cobrado” pelo resultado não realizad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849888" y="8671892"/>
            <a:ext cx="2794996" cy="1569660"/>
          </a:xfrm>
          <a:prstGeom prst="rect">
            <a:avLst/>
          </a:prstGeom>
          <a:solidFill>
            <a:srgbClr val="FFFFFF"/>
          </a:solidFill>
          <a:ln>
            <a:solidFill>
              <a:srgbClr val="5B9BD5"/>
            </a:solidFill>
          </a:ln>
        </p:spPr>
        <p:txBody>
          <a:bodyPr wrap="none" rtlCol="0">
            <a:spAutoFit/>
          </a:bodyPr>
          <a:lstStyle/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-  Aliado</a:t>
            </a:r>
          </a:p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 -  Bloqueador</a:t>
            </a:r>
          </a:p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 - Membro de rede</a:t>
            </a:r>
          </a:p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 -  </a:t>
            </a:r>
            <a:r>
              <a:rPr lang="pt-BR" sz="2400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sacelerador</a:t>
            </a:r>
            <a:endParaRPr lang="pt-BR" sz="24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850394" y="8651773"/>
            <a:ext cx="1535998" cy="1200329"/>
          </a:xfrm>
          <a:prstGeom prst="rect">
            <a:avLst/>
          </a:prstGeom>
          <a:solidFill>
            <a:srgbClr val="FFFFFF"/>
          </a:solidFill>
          <a:ln>
            <a:solidFill>
              <a:srgbClr val="5B9BD5"/>
            </a:solidFill>
          </a:ln>
        </p:spPr>
        <p:txBody>
          <a:bodyPr wrap="none" rtlCol="0">
            <a:spAutoFit/>
          </a:bodyPr>
          <a:lstStyle/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 – Dúvida</a:t>
            </a:r>
          </a:p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 - Certeza</a:t>
            </a:r>
          </a:p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 - Medo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6A7745B0-5057-0C5D-58FD-8E2B4ADF3F07}"/>
              </a:ext>
            </a:extLst>
          </p:cNvPr>
          <p:cNvSpPr txBox="1">
            <a:spLocks/>
          </p:cNvSpPr>
          <p:nvPr/>
        </p:nvSpPr>
        <p:spPr>
          <a:xfrm>
            <a:off x="377280" y="1035062"/>
            <a:ext cx="10357700" cy="537658"/>
          </a:xfrm>
          <a:prstGeom prst="rect">
            <a:avLst/>
          </a:prstGeom>
        </p:spPr>
        <p:txBody>
          <a:bodyPr vert="horz" lIns="102870" tIns="51435" rIns="102870" bIns="5143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b="1" dirty="0">
                <a:solidFill>
                  <a:srgbClr val="69ADE7"/>
                </a:solidFill>
              </a:rPr>
              <a:t>Case (identificar, compreender e analisar)</a:t>
            </a:r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8C79F925-2005-268B-6C07-00371659214A}"/>
              </a:ext>
            </a:extLst>
          </p:cNvPr>
          <p:cNvGraphicFramePr/>
          <p:nvPr/>
        </p:nvGraphicFramePr>
        <p:xfrm>
          <a:off x="10000273" y="3154993"/>
          <a:ext cx="3482463" cy="3255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object 5">
            <a:extLst>
              <a:ext uri="{FF2B5EF4-FFF2-40B4-BE49-F238E27FC236}">
                <a16:creationId xmlns:a16="http://schemas.microsoft.com/office/drawing/2014/main" id="{60F457A3-E2BD-AEB6-12D8-2E9DF4282E55}"/>
              </a:ext>
            </a:extLst>
          </p:cNvPr>
          <p:cNvSpPr txBox="1">
            <a:spLocks/>
          </p:cNvSpPr>
          <p:nvPr/>
        </p:nvSpPr>
        <p:spPr>
          <a:xfrm>
            <a:off x="10574938" y="9811303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66E03388-1D42-7EA4-8E9B-5F85CAB7664E}"/>
              </a:ext>
            </a:extLst>
          </p:cNvPr>
          <p:cNvSpPr txBox="1">
            <a:spLocks/>
          </p:cNvSpPr>
          <p:nvPr/>
        </p:nvSpPr>
        <p:spPr>
          <a:xfrm>
            <a:off x="11466512" y="74951"/>
            <a:ext cx="1728192" cy="457731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37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3252883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F9D56C91-E4E3-8DC3-CC4C-0E6252AB99D7}"/>
              </a:ext>
            </a:extLst>
          </p:cNvPr>
          <p:cNvGraphicFramePr>
            <a:graphicFrameLocks noGrp="1"/>
          </p:cNvGraphicFramePr>
          <p:nvPr/>
        </p:nvGraphicFramePr>
        <p:xfrm>
          <a:off x="1057717" y="3271292"/>
          <a:ext cx="8896627" cy="1540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7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29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5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69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69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269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5103">
                <a:tc>
                  <a:txBody>
                    <a:bodyPr/>
                    <a:lstStyle/>
                    <a:p>
                      <a:pPr algn="ctr"/>
                      <a:r>
                        <a:rPr lang="pt-BR" sz="1600" i="1" dirty="0">
                          <a:latin typeface="+mn-lt"/>
                          <a:cs typeface="Arial" panose="020B0604020202020204" pitchFamily="34" charset="0"/>
                        </a:rPr>
                        <a:t>Stakeholder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onsciente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stente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tro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oiador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íder</a:t>
                      </a: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1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tor 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1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erintendente B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1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ente 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baseline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ítulo 1">
            <a:extLst>
              <a:ext uri="{FF2B5EF4-FFF2-40B4-BE49-F238E27FC236}">
                <a16:creationId xmlns:a16="http://schemas.microsoft.com/office/drawing/2014/main" id="{D49DF33D-EB18-FB76-395E-F32276A61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162" y="626937"/>
            <a:ext cx="7454972" cy="582463"/>
          </a:xfrm>
        </p:spPr>
        <p:txBody>
          <a:bodyPr>
            <a:normAutofit fontScale="90000"/>
          </a:bodyPr>
          <a:lstStyle/>
          <a:p>
            <a:pPr algn="l"/>
            <a:r>
              <a:rPr lang="pt-BR" sz="4100" b="1" dirty="0">
                <a:solidFill>
                  <a:srgbClr val="69ADE7"/>
                </a:solidFill>
              </a:rPr>
              <a:t>Case 2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E51B659-640F-27D2-0C61-85E0C65163BD}"/>
              </a:ext>
            </a:extLst>
          </p:cNvPr>
          <p:cNvSpPr txBox="1"/>
          <p:nvPr/>
        </p:nvSpPr>
        <p:spPr>
          <a:xfrm>
            <a:off x="635162" y="1597980"/>
            <a:ext cx="11779870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316547" indent="-316547">
              <a:buFont typeface="Arial" panose="020B0604020202020204" pitchFamily="34" charset="0"/>
              <a:buChar char="•"/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just"/>
            <a:r>
              <a:rPr lang="pt-BR" sz="3100" b="0" dirty="0">
                <a:latin typeface="+mn-lt"/>
              </a:rPr>
              <a:t>Diante deste cenário, elabore planos de ação para influenciar os </a:t>
            </a:r>
            <a:r>
              <a:rPr lang="pt-BR" sz="3100" b="0" i="1" dirty="0">
                <a:latin typeface="+mn-lt"/>
              </a:rPr>
              <a:t>Stakeholders</a:t>
            </a:r>
            <a:r>
              <a:rPr lang="pt-BR" sz="3100" b="0" dirty="0">
                <a:latin typeface="+mn-lt"/>
              </a:rPr>
              <a:t> abaixo e alterar o seu estado atual e levar para o estado desejado.</a:t>
            </a:r>
          </a:p>
        </p:txBody>
      </p:sp>
      <p:sp>
        <p:nvSpPr>
          <p:cNvPr id="11" name="Seta para a direita 3">
            <a:extLst>
              <a:ext uri="{FF2B5EF4-FFF2-40B4-BE49-F238E27FC236}">
                <a16:creationId xmlns:a16="http://schemas.microsoft.com/office/drawing/2014/main" id="{41C88BD5-0228-9EAA-A049-CFD19E9FDC80}"/>
              </a:ext>
            </a:extLst>
          </p:cNvPr>
          <p:cNvSpPr/>
          <p:nvPr/>
        </p:nvSpPr>
        <p:spPr>
          <a:xfrm>
            <a:off x="5170213" y="3653233"/>
            <a:ext cx="2511000" cy="356088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92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Seta para a direita 3">
            <a:extLst>
              <a:ext uri="{FF2B5EF4-FFF2-40B4-BE49-F238E27FC236}">
                <a16:creationId xmlns:a16="http://schemas.microsoft.com/office/drawing/2014/main" id="{FDDBE05B-66F2-C1F2-C75E-4A0C587F6129}"/>
              </a:ext>
            </a:extLst>
          </p:cNvPr>
          <p:cNvSpPr/>
          <p:nvPr/>
        </p:nvSpPr>
        <p:spPr>
          <a:xfrm>
            <a:off x="5170213" y="4041500"/>
            <a:ext cx="1093500" cy="356088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92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Seta para a direita 3">
            <a:extLst>
              <a:ext uri="{FF2B5EF4-FFF2-40B4-BE49-F238E27FC236}">
                <a16:creationId xmlns:a16="http://schemas.microsoft.com/office/drawing/2014/main" id="{65C335B5-B1E7-A6D0-6A58-36800433592B}"/>
              </a:ext>
            </a:extLst>
          </p:cNvPr>
          <p:cNvSpPr/>
          <p:nvPr/>
        </p:nvSpPr>
        <p:spPr>
          <a:xfrm>
            <a:off x="5192337" y="4438584"/>
            <a:ext cx="2511000" cy="356088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92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5" name="Tabela 2">
            <a:extLst>
              <a:ext uri="{FF2B5EF4-FFF2-40B4-BE49-F238E27FC236}">
                <a16:creationId xmlns:a16="http://schemas.microsoft.com/office/drawing/2014/main" id="{E9CBD281-CEEF-A529-CF04-F51478D8DB1B}"/>
              </a:ext>
            </a:extLst>
          </p:cNvPr>
          <p:cNvGraphicFramePr>
            <a:graphicFrameLocks noGrp="1"/>
          </p:cNvGraphicFramePr>
          <p:nvPr/>
        </p:nvGraphicFramePr>
        <p:xfrm>
          <a:off x="377280" y="5157844"/>
          <a:ext cx="12673408" cy="43103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057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09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169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656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741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38978">
                <a:tc>
                  <a:txBody>
                    <a:bodyPr/>
                    <a:lstStyle/>
                    <a:p>
                      <a:pPr algn="ctr"/>
                      <a:r>
                        <a:rPr lang="pt-BR" sz="16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keholder</a:t>
                      </a:r>
                      <a:endParaRPr lang="pt-BR" sz="1600" b="0" i="1" noProof="0" dirty="0">
                        <a:solidFill>
                          <a:schemeClr val="tx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osiçã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volvimento/impac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ualificação</a:t>
                      </a:r>
                    </a:p>
                    <a:p>
                      <a:pPr algn="ctr"/>
                      <a:r>
                        <a:rPr lang="pt-BR" sz="1600" b="0" noProof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A,B,M,D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tivo</a:t>
                      </a:r>
                    </a:p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D,C,M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670">
                <a:tc>
                  <a:txBody>
                    <a:bodyPr/>
                    <a:lstStyle/>
                    <a:p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ice Presidente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Dir A/</a:t>
                      </a:r>
                      <a:r>
                        <a:rPr lang="pt-BR" sz="1600" b="0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</a:t>
                      </a: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iabilizou o orçamento do proje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liad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072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tor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</a:t>
                      </a:r>
                      <a:r>
                        <a:rPr lang="pt-BR" sz="1600" b="0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</a:t>
                      </a: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realizar o projeto em uma única entreg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loque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úvida se manteremos o orçamento caso as entregas sejam por bloco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3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erintendente 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lang="pt-BR" sz="16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onsor</a:t>
                      </a: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o projeto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Ger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realizar o projeto em 2 entrega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liad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3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rente 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st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realizar o projeto em 3 entrega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aceler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do das entregas demorarem e consequentemente perder apoio na Cia.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3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erintendente B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O do canal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eja proteger seu </a:t>
                      </a:r>
                      <a:r>
                        <a:rPr lang="pt-BR" sz="16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oadmap</a:t>
                      </a:r>
                      <a:endParaRPr lang="pt-BR" sz="1600" b="0" i="1" noProof="0" dirty="0">
                        <a:solidFill>
                          <a:schemeClr val="tx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loqueadore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do de perder priorização em seu</a:t>
                      </a:r>
                      <a:r>
                        <a:rPr lang="pt-BR" sz="1600" b="0" i="1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pt-BR" sz="1600" b="0" i="1" noProof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oadmap</a:t>
                      </a:r>
                      <a:r>
                        <a:rPr lang="pt-BR" sz="1600" b="0" i="1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pt-BR" sz="1600" b="0" noProof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 ser “cobrado” pelo resultado não realizad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object 5">
            <a:extLst>
              <a:ext uri="{FF2B5EF4-FFF2-40B4-BE49-F238E27FC236}">
                <a16:creationId xmlns:a16="http://schemas.microsoft.com/office/drawing/2014/main" id="{AB0566DB-765E-9914-E01D-E02DEC5DC5E3}"/>
              </a:ext>
            </a:extLst>
          </p:cNvPr>
          <p:cNvSpPr txBox="1">
            <a:spLocks/>
          </p:cNvSpPr>
          <p:nvPr/>
        </p:nvSpPr>
        <p:spPr>
          <a:xfrm>
            <a:off x="10530408" y="9680004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0CBBC95-9DBA-4364-025B-FA430A680EE2}"/>
              </a:ext>
            </a:extLst>
          </p:cNvPr>
          <p:cNvSpPr txBox="1">
            <a:spLocks/>
          </p:cNvSpPr>
          <p:nvPr/>
        </p:nvSpPr>
        <p:spPr>
          <a:xfrm>
            <a:off x="11466512" y="-41076"/>
            <a:ext cx="1728192" cy="457731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37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2183165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27825" y="530730"/>
            <a:ext cx="7454972" cy="582463"/>
          </a:xfrm>
        </p:spPr>
        <p:txBody>
          <a:bodyPr>
            <a:normAutofit fontScale="90000"/>
          </a:bodyPr>
          <a:lstStyle/>
          <a:p>
            <a:pPr algn="l"/>
            <a:r>
              <a:rPr lang="pt-BR" sz="3700" b="1" dirty="0">
                <a:solidFill>
                  <a:srgbClr val="69ADE7"/>
                </a:solidFill>
              </a:rPr>
              <a:t>Por onde andei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EC709868-53DD-9A39-6A3A-28522BA44BCF}"/>
              </a:ext>
            </a:extLst>
          </p:cNvPr>
          <p:cNvSpPr txBox="1"/>
          <p:nvPr/>
        </p:nvSpPr>
        <p:spPr>
          <a:xfrm>
            <a:off x="535320" y="1711791"/>
            <a:ext cx="11672242" cy="3431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316547" indent="-316547">
              <a:buFont typeface="Arial" panose="020B0604020202020204" pitchFamily="34" charset="0"/>
              <a:buChar char="•"/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sz="3100" b="0" dirty="0">
                <a:latin typeface="+mn-lt"/>
              </a:rPr>
              <a:t>O sucesso do seu projeto depende diretamente das pessoas;</a:t>
            </a:r>
          </a:p>
          <a:p>
            <a:endParaRPr lang="pt-BR" sz="3100" b="0" dirty="0">
              <a:latin typeface="+mn-lt"/>
            </a:endParaRPr>
          </a:p>
          <a:p>
            <a:r>
              <a:rPr lang="pt-BR" sz="3100" b="0" dirty="0">
                <a:latin typeface="+mn-lt"/>
              </a:rPr>
              <a:t>Gestão de </a:t>
            </a:r>
            <a:r>
              <a:rPr lang="pt-BR" sz="3100" b="0" i="1" dirty="0">
                <a:latin typeface="+mn-lt"/>
              </a:rPr>
              <a:t>Stakeholders </a:t>
            </a:r>
            <a:r>
              <a:rPr lang="pt-BR" sz="3100" b="0" dirty="0">
                <a:latin typeface="+mn-lt"/>
              </a:rPr>
              <a:t>começa antes do </a:t>
            </a:r>
            <a:r>
              <a:rPr lang="pt-BR" sz="3100" b="0" i="1" dirty="0" err="1">
                <a:latin typeface="+mn-lt"/>
              </a:rPr>
              <a:t>Kick</a:t>
            </a:r>
            <a:r>
              <a:rPr lang="pt-BR" sz="3100" b="0" i="1" dirty="0">
                <a:latin typeface="+mn-lt"/>
              </a:rPr>
              <a:t> Off </a:t>
            </a:r>
            <a:r>
              <a:rPr lang="pt-BR" sz="3100" b="0" dirty="0">
                <a:latin typeface="+mn-lt"/>
              </a:rPr>
              <a:t>do projeto;</a:t>
            </a:r>
          </a:p>
          <a:p>
            <a:endParaRPr lang="pt-BR" sz="3100" b="0" dirty="0">
              <a:latin typeface="+mn-lt"/>
            </a:endParaRPr>
          </a:p>
          <a:p>
            <a:r>
              <a:rPr lang="pt-BR" sz="3100" b="0" dirty="0">
                <a:latin typeface="+mn-lt"/>
              </a:rPr>
              <a:t>Identifique junto ao </a:t>
            </a:r>
            <a:r>
              <a:rPr lang="pt-BR" sz="3100" b="0" i="1" dirty="0" err="1">
                <a:latin typeface="+mn-lt"/>
              </a:rPr>
              <a:t>Sponsor</a:t>
            </a:r>
            <a:r>
              <a:rPr lang="pt-BR" sz="3100" b="0" dirty="0">
                <a:latin typeface="+mn-lt"/>
              </a:rPr>
              <a:t> o por que fazer (propósito) o projeto;</a:t>
            </a:r>
          </a:p>
          <a:p>
            <a:endParaRPr lang="pt-BR" sz="3100" b="0" dirty="0">
              <a:latin typeface="+mn-lt"/>
            </a:endParaRPr>
          </a:p>
          <a:p>
            <a:endParaRPr lang="pt-BR" sz="3100" b="0" dirty="0">
              <a:latin typeface="+mn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DB9F76D-A8B3-E744-1A66-DA485E5087EE}"/>
              </a:ext>
            </a:extLst>
          </p:cNvPr>
          <p:cNvSpPr txBox="1"/>
          <p:nvPr/>
        </p:nvSpPr>
        <p:spPr>
          <a:xfrm>
            <a:off x="514350" y="4135372"/>
            <a:ext cx="11672242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316547" indent="-316547">
              <a:buFont typeface="Arial" panose="020B0604020202020204" pitchFamily="34" charset="0"/>
              <a:buChar char="•"/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sz="3100" b="0" dirty="0">
                <a:latin typeface="+mn-lt"/>
              </a:rPr>
              <a:t>Para influenciar, as suas conversas precisam sempre passar pelo propósito;</a:t>
            </a:r>
          </a:p>
          <a:p>
            <a:endParaRPr lang="pt-BR" sz="3100" b="0" dirty="0">
              <a:latin typeface="+mn-lt"/>
            </a:endParaRPr>
          </a:p>
          <a:p>
            <a:r>
              <a:rPr lang="pt-BR" sz="3100" b="0" dirty="0">
                <a:latin typeface="+mn-lt"/>
              </a:rPr>
              <a:t>Desenvolva a sua comunicação (fator crítico de sucesso);</a:t>
            </a:r>
          </a:p>
          <a:p>
            <a:endParaRPr lang="pt-BR" sz="3100" b="0" dirty="0">
              <a:latin typeface="+mn-lt"/>
            </a:endParaRPr>
          </a:p>
          <a:p>
            <a:r>
              <a:rPr lang="pt-BR" sz="3100" b="0" i="1" dirty="0">
                <a:latin typeface="+mn-lt"/>
              </a:rPr>
              <a:t>Stakeholders </a:t>
            </a:r>
            <a:r>
              <a:rPr lang="pt-BR" sz="3100" b="0" dirty="0">
                <a:latin typeface="+mn-lt"/>
              </a:rPr>
              <a:t>quando mapeados de forma reativa, normalmente se comportam como bloqueadores;</a:t>
            </a:r>
          </a:p>
          <a:p>
            <a:endParaRPr lang="pt-BR" sz="3100" b="0" dirty="0">
              <a:latin typeface="+mn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7847027-F396-6169-1055-F54BC631CBED}"/>
              </a:ext>
            </a:extLst>
          </p:cNvPr>
          <p:cNvSpPr txBox="1"/>
          <p:nvPr/>
        </p:nvSpPr>
        <p:spPr>
          <a:xfrm>
            <a:off x="514350" y="7822136"/>
            <a:ext cx="1167224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316547" indent="-316547">
              <a:buFont typeface="Arial" panose="020B0604020202020204" pitchFamily="34" charset="0"/>
              <a:buChar char="•"/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sz="3100" b="0" dirty="0">
                <a:latin typeface="+mn-lt"/>
              </a:rPr>
              <a:t>Estimule o protagonismo do seu time e membros da rede;</a:t>
            </a:r>
          </a:p>
          <a:p>
            <a:endParaRPr lang="pt-BR" sz="3100" b="0" dirty="0">
              <a:latin typeface="+mn-lt"/>
            </a:endParaRPr>
          </a:p>
          <a:p>
            <a:r>
              <a:rPr lang="pt-BR" sz="3100" b="0" dirty="0">
                <a:latin typeface="+mn-lt"/>
              </a:rPr>
              <a:t>Pratique </a:t>
            </a:r>
            <a:r>
              <a:rPr lang="pt-BR" sz="3100" b="0" i="1" dirty="0">
                <a:latin typeface="+mn-lt"/>
              </a:rPr>
              <a:t>feedback </a:t>
            </a:r>
            <a:r>
              <a:rPr lang="pt-BR" sz="3100" b="0" dirty="0">
                <a:latin typeface="+mn-lt"/>
              </a:rPr>
              <a:t>(fator crítico de sucesso) ao longo do projeto;</a:t>
            </a:r>
          </a:p>
          <a:p>
            <a:endParaRPr lang="pt-BR" sz="3100" b="0" dirty="0">
              <a:latin typeface="+mn-lt"/>
            </a:endParaRP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B8F1E4D1-C1BA-7EBE-017A-1AC0392C7B4F}"/>
              </a:ext>
            </a:extLst>
          </p:cNvPr>
          <p:cNvSpPr txBox="1">
            <a:spLocks/>
          </p:cNvSpPr>
          <p:nvPr/>
        </p:nvSpPr>
        <p:spPr>
          <a:xfrm>
            <a:off x="10242376" y="9812052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B22FC8E5-EEC7-C20A-74A3-0833CFC93C36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4029242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</p:bld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FB67E0-CDF8-4A7A-ADCE-33F095D2A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14808" y="804253"/>
            <a:ext cx="9286875" cy="900113"/>
          </a:xfrm>
        </p:spPr>
        <p:txBody>
          <a:bodyPr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 err="1">
                <a:solidFill>
                  <a:srgbClr val="69ADE7"/>
                </a:solidFill>
              </a:rPr>
              <a:t>Metodologia</a:t>
            </a:r>
            <a:r>
              <a:rPr lang="en-US" sz="4000" b="1" dirty="0">
                <a:solidFill>
                  <a:srgbClr val="69ADE7"/>
                </a:solidFill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</a:rPr>
              <a:t>gestão</a:t>
            </a:r>
            <a:r>
              <a:rPr lang="en-US" sz="4000" b="1" dirty="0">
                <a:solidFill>
                  <a:srgbClr val="69ADE7"/>
                </a:solidFill>
              </a:rPr>
              <a:t> da </a:t>
            </a:r>
            <a:r>
              <a:rPr lang="en-US" sz="4000" b="1" dirty="0" err="1">
                <a:solidFill>
                  <a:srgbClr val="69ADE7"/>
                </a:solidFill>
              </a:rPr>
              <a:t>mudança</a:t>
            </a:r>
            <a:endParaRPr lang="pt-BR" sz="4000" b="1" dirty="0">
              <a:solidFill>
                <a:srgbClr val="69ADE7"/>
              </a:solidFill>
            </a:endParaRPr>
          </a:p>
        </p:txBody>
      </p:sp>
      <p:graphicFrame>
        <p:nvGraphicFramePr>
          <p:cNvPr id="5" name="Espaço Reservado para Conteúdo 2">
            <a:extLst>
              <a:ext uri="{FF2B5EF4-FFF2-40B4-BE49-F238E27FC236}">
                <a16:creationId xmlns:a16="http://schemas.microsoft.com/office/drawing/2014/main" id="{83BEF815-BB34-4295-9911-68E725B33D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9991897"/>
              </p:ext>
            </p:extLst>
          </p:nvPr>
        </p:nvGraphicFramePr>
        <p:xfrm>
          <a:off x="250304" y="2263180"/>
          <a:ext cx="12728376" cy="58739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66347CFE-1AFF-318C-5ADE-FAE9B1CD12E3}"/>
              </a:ext>
            </a:extLst>
          </p:cNvPr>
          <p:cNvSpPr txBox="1"/>
          <p:nvPr/>
        </p:nvSpPr>
        <p:spPr>
          <a:xfrm>
            <a:off x="6607244" y="9720509"/>
            <a:ext cx="6858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20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eferência: O Coração da Mudança – John P. </a:t>
            </a:r>
            <a:r>
              <a:rPr lang="pt-BR" sz="2000" i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Kotter</a:t>
            </a:r>
            <a:endParaRPr lang="pt-BR" sz="2000" i="1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80804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4106A74-F37D-4EF5-9CFB-D1C9603667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21776" r="16181" b="2"/>
          <a:stretch/>
        </p:blipFill>
        <p:spPr>
          <a:xfrm>
            <a:off x="6606177" y="1285886"/>
            <a:ext cx="5395066" cy="57864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4DDEBDD-D8BD-41A6-8A0D-B00E3768B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1714500" y="1285875"/>
            <a:ext cx="10287000" cy="5786438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D9A54B0-331D-47B3-A18F-6D53F7EB22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5752" y="4997483"/>
            <a:ext cx="7686675" cy="5130857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EE1711A-83AA-4C5D-A8D1-413FD12C9EC9}"/>
              </a:ext>
            </a:extLst>
          </p:cNvPr>
          <p:cNvSpPr txBox="1"/>
          <p:nvPr/>
        </p:nvSpPr>
        <p:spPr>
          <a:xfrm>
            <a:off x="480417" y="1980581"/>
            <a:ext cx="11520825" cy="3426405"/>
          </a:xfrm>
          <a:prstGeom prst="rect">
            <a:avLst/>
          </a:prstGeom>
        </p:spPr>
        <p:txBody>
          <a:bodyPr vert="horz" lIns="102870" tIns="51435" rIns="102870" bIns="51435" rtlCol="0" anchor="t">
            <a:noAutofit/>
          </a:bodyPr>
          <a:lstStyle/>
          <a:p>
            <a:pPr marL="457200" indent="-457200">
              <a:lnSpc>
                <a:spcPct val="150000"/>
              </a:lnSpc>
              <a:spcAft>
                <a:spcPts val="675"/>
              </a:spcAft>
              <a:buClr>
                <a:srgbClr val="69ADE7"/>
              </a:buClr>
              <a:buSzPct val="130000"/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rgbClr val="000000"/>
                </a:solidFill>
                <a:latin typeface="Calibri" panose="020F0502020204030204" pitchFamily="34" charset="0"/>
              </a:rPr>
              <a:t>Identificação e discussão das crises, crises potenciais ou oportunidades fundamentais.</a:t>
            </a:r>
          </a:p>
        </p:txBody>
      </p:sp>
      <p:sp>
        <p:nvSpPr>
          <p:cNvPr id="8" name="Título 3">
            <a:extLst>
              <a:ext uri="{FF2B5EF4-FFF2-40B4-BE49-F238E27FC236}">
                <a16:creationId xmlns:a16="http://schemas.microsoft.com/office/drawing/2014/main" id="{931DDE94-92A5-4403-B87D-0CDDEC64CCDA}"/>
              </a:ext>
            </a:extLst>
          </p:cNvPr>
          <p:cNvSpPr txBox="1">
            <a:spLocks/>
          </p:cNvSpPr>
          <p:nvPr/>
        </p:nvSpPr>
        <p:spPr>
          <a:xfrm>
            <a:off x="-1897885" y="795276"/>
            <a:ext cx="9286875" cy="90011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Aumentar</a:t>
            </a:r>
            <a:r>
              <a:rPr lang="en-US" sz="4000" b="1" dirty="0">
                <a:solidFill>
                  <a:srgbClr val="69ADE7"/>
                </a:solidFill>
                <a:latin typeface="Calibri" panose="020F0502020204030204" pitchFamily="34" charset="0"/>
              </a:rPr>
              <a:t> a </a:t>
            </a: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urgência</a:t>
            </a:r>
            <a:endParaRPr lang="en-US" sz="4000" b="1" dirty="0">
              <a:solidFill>
                <a:srgbClr val="69ADE7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34427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2019098"/>
            <a:ext cx="10287000" cy="8286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344" y="2189791"/>
            <a:ext cx="8658200" cy="5907418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88231B16-71E7-D9AB-6515-362212B6473B}"/>
              </a:ext>
            </a:extLst>
          </p:cNvPr>
          <p:cNvSpPr txBox="1"/>
          <p:nvPr/>
        </p:nvSpPr>
        <p:spPr>
          <a:xfrm>
            <a:off x="665312" y="787892"/>
            <a:ext cx="728472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>
                <a:solidFill>
                  <a:srgbClr val="69ADE7"/>
                </a:solidFill>
                <a:latin typeface="+mj-lt"/>
              </a:rPr>
              <a:t>Construir a equipe de orientaç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61CF9129-0444-8603-0881-F8683E120CE9}"/>
              </a:ext>
            </a:extLst>
          </p:cNvPr>
          <p:cNvSpPr/>
          <p:nvPr/>
        </p:nvSpPr>
        <p:spPr>
          <a:xfrm>
            <a:off x="9611544" y="9535988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13107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3" name="Group 3"/>
          <p:cNvGrpSpPr>
            <a:grpSpLocks/>
          </p:cNvGrpSpPr>
          <p:nvPr/>
        </p:nvGrpSpPr>
        <p:grpSpPr bwMode="auto">
          <a:xfrm>
            <a:off x="233264" y="4243158"/>
            <a:ext cx="6000437" cy="2319683"/>
            <a:chOff x="1619250" y="2892425"/>
            <a:chExt cx="5832475" cy="32004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" name="AutoShape 9"/>
            <p:cNvSpPr>
              <a:spLocks noChangeArrowheads="1"/>
            </p:cNvSpPr>
            <p:nvPr/>
          </p:nvSpPr>
          <p:spPr bwMode="auto">
            <a:xfrm>
              <a:off x="2686479" y="3654593"/>
              <a:ext cx="380602" cy="456947"/>
            </a:xfrm>
            <a:prstGeom prst="downArrow">
              <a:avLst>
                <a:gd name="adj1" fmla="val 50000"/>
                <a:gd name="adj2" fmla="val 30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238" b="1" dirty="0">
                <a:cs typeface="MS PGothic" charset="0"/>
              </a:endParaRPr>
            </a:p>
          </p:txBody>
        </p:sp>
        <p:sp>
          <p:nvSpPr>
            <p:cNvPr id="10" name="AutoShape 10"/>
            <p:cNvSpPr>
              <a:spLocks noChangeArrowheads="1"/>
            </p:cNvSpPr>
            <p:nvPr/>
          </p:nvSpPr>
          <p:spPr bwMode="auto">
            <a:xfrm>
              <a:off x="2686479" y="4873708"/>
              <a:ext cx="380602" cy="456949"/>
            </a:xfrm>
            <a:prstGeom prst="downArrow">
              <a:avLst>
                <a:gd name="adj1" fmla="val 50000"/>
                <a:gd name="adj2" fmla="val 30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238" b="1" dirty="0">
                <a:cs typeface="MS PGothic" charset="0"/>
              </a:endParaRPr>
            </a:p>
          </p:txBody>
        </p:sp>
        <p:sp>
          <p:nvSpPr>
            <p:cNvPr id="11" name="AutoShape 11"/>
            <p:cNvSpPr>
              <a:spLocks noChangeArrowheads="1"/>
            </p:cNvSpPr>
            <p:nvPr/>
          </p:nvSpPr>
          <p:spPr bwMode="auto">
            <a:xfrm>
              <a:off x="4211461" y="5560013"/>
              <a:ext cx="532328" cy="381084"/>
            </a:xfrm>
            <a:prstGeom prst="rightArrow">
              <a:avLst>
                <a:gd name="adj1" fmla="val 50000"/>
                <a:gd name="adj2" fmla="val 35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238" b="1" dirty="0">
                <a:cs typeface="MS PGothic" charset="0"/>
              </a:endParaRPr>
            </a:p>
          </p:txBody>
        </p:sp>
        <p:sp>
          <p:nvSpPr>
            <p:cNvPr id="12" name="AutoShape 12"/>
            <p:cNvSpPr>
              <a:spLocks noChangeArrowheads="1"/>
            </p:cNvSpPr>
            <p:nvPr/>
          </p:nvSpPr>
          <p:spPr bwMode="auto">
            <a:xfrm flipH="1">
              <a:off x="4250035" y="3121781"/>
              <a:ext cx="465467" cy="381084"/>
            </a:xfrm>
            <a:prstGeom prst="rightArrow">
              <a:avLst>
                <a:gd name="adj1" fmla="val 50000"/>
                <a:gd name="adj2" fmla="val 30052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238" b="1" dirty="0">
                <a:cs typeface="MS PGothic" charset="0"/>
              </a:endParaRPr>
            </a:p>
          </p:txBody>
        </p:sp>
        <p:sp>
          <p:nvSpPr>
            <p:cNvPr id="13" name="AutoShape 13"/>
            <p:cNvSpPr>
              <a:spLocks noChangeArrowheads="1"/>
            </p:cNvSpPr>
            <p:nvPr/>
          </p:nvSpPr>
          <p:spPr bwMode="auto">
            <a:xfrm flipV="1">
              <a:off x="5919029" y="4873708"/>
              <a:ext cx="380602" cy="456949"/>
            </a:xfrm>
            <a:prstGeom prst="downArrow">
              <a:avLst>
                <a:gd name="adj1" fmla="val 50000"/>
                <a:gd name="adj2" fmla="val 30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238" b="1" dirty="0">
                <a:cs typeface="MS PGothic" charset="0"/>
              </a:endParaRPr>
            </a:p>
          </p:txBody>
        </p:sp>
        <p:sp>
          <p:nvSpPr>
            <p:cNvPr id="14" name="AutoShape 14"/>
            <p:cNvSpPr>
              <a:spLocks noChangeArrowheads="1"/>
            </p:cNvSpPr>
            <p:nvPr/>
          </p:nvSpPr>
          <p:spPr bwMode="auto">
            <a:xfrm flipV="1">
              <a:off x="5919029" y="3654593"/>
              <a:ext cx="380602" cy="456947"/>
            </a:xfrm>
            <a:prstGeom prst="downArrow">
              <a:avLst>
                <a:gd name="adj1" fmla="val 50000"/>
                <a:gd name="adj2" fmla="val 30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US" sz="1238" b="1" dirty="0">
                <a:cs typeface="MS PGothic" charset="0"/>
              </a:endParaRPr>
            </a:p>
          </p:txBody>
        </p:sp>
        <p:sp>
          <p:nvSpPr>
            <p:cNvPr id="15" name="Rectangle 3"/>
            <p:cNvSpPr>
              <a:spLocks noChangeArrowheads="1"/>
            </p:cNvSpPr>
            <p:nvPr/>
          </p:nvSpPr>
          <p:spPr bwMode="auto">
            <a:xfrm>
              <a:off x="1619250" y="2892425"/>
              <a:ext cx="2589639" cy="76216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pt-BR" sz="1575" b="1" dirty="0">
                  <a:cs typeface="Arial"/>
                </a:rPr>
                <a:t>Definir evento</a:t>
              </a:r>
            </a:p>
          </p:txBody>
        </p:sp>
        <p:sp>
          <p:nvSpPr>
            <p:cNvPr id="16" name="Rectangle 4"/>
            <p:cNvSpPr>
              <a:spLocks noChangeArrowheads="1"/>
            </p:cNvSpPr>
            <p:nvPr/>
          </p:nvSpPr>
          <p:spPr bwMode="auto">
            <a:xfrm>
              <a:off x="1619250" y="4111540"/>
              <a:ext cx="2589639" cy="76216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pt-BR" sz="1575" b="1" dirty="0">
                  <a:cs typeface="Arial"/>
                </a:rPr>
                <a:t>Identificar/analisar </a:t>
              </a:r>
            </a:p>
            <a:p>
              <a:pPr algn="ctr">
                <a:defRPr/>
              </a:pPr>
              <a:r>
                <a:rPr lang="pt-BR" sz="1575" b="1" dirty="0">
                  <a:cs typeface="Arial"/>
                </a:rPr>
                <a:t>envolvidos</a:t>
              </a:r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1619250" y="5293607"/>
              <a:ext cx="2589639" cy="76216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pt-BR" sz="1575" b="1" dirty="0">
                  <a:cs typeface="Arial" pitchFamily="34" charset="0"/>
                </a:rPr>
                <a:t>Identificar coalizões</a:t>
              </a:r>
            </a:p>
            <a:p>
              <a:pPr algn="ctr">
                <a:defRPr/>
              </a:pPr>
              <a:r>
                <a:rPr lang="pt-BR" sz="1575" b="1" dirty="0">
                  <a:cs typeface="Arial" pitchFamily="34" charset="0"/>
                </a:rPr>
                <a:t>contrárias</a:t>
              </a:r>
            </a:p>
          </p:txBody>
        </p:sp>
        <p:sp>
          <p:nvSpPr>
            <p:cNvPr id="18" name="Rectangle 6"/>
            <p:cNvSpPr>
              <a:spLocks noChangeArrowheads="1"/>
            </p:cNvSpPr>
            <p:nvPr/>
          </p:nvSpPr>
          <p:spPr bwMode="auto">
            <a:xfrm>
              <a:off x="4743789" y="5330657"/>
              <a:ext cx="2707936" cy="76216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pt-BR" sz="1575" b="1" dirty="0">
                  <a:cs typeface="Arial" pitchFamily="34" charset="0"/>
                </a:rPr>
                <a:t>Identificar estratégia </a:t>
              </a:r>
              <a:br>
                <a:rPr lang="pt-BR" sz="1575" b="1" dirty="0">
                  <a:cs typeface="Arial" pitchFamily="34" charset="0"/>
                </a:rPr>
              </a:br>
              <a:r>
                <a:rPr lang="pt-BR" sz="1575" b="1" dirty="0">
                  <a:cs typeface="Arial" pitchFamily="34" charset="0"/>
                </a:rPr>
                <a:t>e abordagens</a:t>
              </a: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4743789" y="2892425"/>
              <a:ext cx="2707936" cy="76216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pt-BR" sz="1575" b="1" dirty="0">
                  <a:cs typeface="Arial"/>
                </a:rPr>
                <a:t>Monitorar o processo</a:t>
              </a:r>
            </a:p>
          </p:txBody>
        </p:sp>
        <p:sp>
          <p:nvSpPr>
            <p:cNvPr id="20" name="Rectangle 8"/>
            <p:cNvSpPr>
              <a:spLocks noChangeArrowheads="1"/>
            </p:cNvSpPr>
            <p:nvPr/>
          </p:nvSpPr>
          <p:spPr bwMode="auto">
            <a:xfrm>
              <a:off x="4743789" y="4111540"/>
              <a:ext cx="2707936" cy="76216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pt-BR" sz="1575" b="1" dirty="0">
                  <a:cs typeface="Arial" pitchFamily="34" charset="0"/>
                </a:rPr>
                <a:t>Executar a estratégia</a:t>
              </a:r>
            </a:p>
          </p:txBody>
        </p:sp>
      </p:grpSp>
      <p:sp>
        <p:nvSpPr>
          <p:cNvPr id="65539" name="Text Box 2"/>
          <p:cNvSpPr txBox="1">
            <a:spLocks noChangeArrowheads="1"/>
          </p:cNvSpPr>
          <p:nvPr/>
        </p:nvSpPr>
        <p:spPr bwMode="auto">
          <a:xfrm>
            <a:off x="161256" y="2446702"/>
            <a:ext cx="1187582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 eaLnBrk="1" hangingPunct="1"/>
            <a:r>
              <a:rPr lang="pt-BR" sz="3000" dirty="0">
                <a:latin typeface="Calibri"/>
              </a:rPr>
              <a:t>Envolve preparar os ciclos de </a:t>
            </a:r>
            <a:r>
              <a:rPr lang="pt-BR" sz="3000" b="1" dirty="0">
                <a:latin typeface="Calibri"/>
              </a:rPr>
              <a:t>coalizões</a:t>
            </a:r>
            <a:r>
              <a:rPr lang="pt-BR" sz="3000" dirty="0">
                <a:latin typeface="Calibri"/>
              </a:rPr>
              <a:t> logicamente ordenados que respeitam o perfil dos envolvidos e minimizam as resistências.</a:t>
            </a:r>
          </a:p>
        </p:txBody>
      </p:sp>
      <p:grpSp>
        <p:nvGrpSpPr>
          <p:cNvPr id="65540" name="Group 1"/>
          <p:cNvGrpSpPr>
            <a:grpSpLocks/>
          </p:cNvGrpSpPr>
          <p:nvPr/>
        </p:nvGrpSpPr>
        <p:grpSpPr bwMode="auto">
          <a:xfrm>
            <a:off x="8874224" y="4010666"/>
            <a:ext cx="4249060" cy="4224792"/>
            <a:chOff x="876932" y="2552700"/>
            <a:chExt cx="3006689" cy="2989516"/>
          </a:xfrm>
        </p:grpSpPr>
        <p:grpSp>
          <p:nvGrpSpPr>
            <p:cNvPr id="65550" name="Group 28"/>
            <p:cNvGrpSpPr>
              <a:grpSpLocks/>
            </p:cNvGrpSpPr>
            <p:nvPr/>
          </p:nvGrpSpPr>
          <p:grpSpPr bwMode="auto">
            <a:xfrm>
              <a:off x="939800" y="2552700"/>
              <a:ext cx="2768600" cy="2946400"/>
              <a:chOff x="1012221" y="2336800"/>
              <a:chExt cx="2767691" cy="2946400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2051693" y="4508500"/>
                <a:ext cx="1080732" cy="433388"/>
              </a:xfrm>
              <a:prstGeom prst="ellipse">
                <a:avLst/>
              </a:prstGeom>
              <a:noFill/>
              <a:ln w="38100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25" name="Oval 24"/>
              <p:cNvSpPr>
                <a:spLocks noChangeArrowheads="1"/>
              </p:cNvSpPr>
              <p:nvPr/>
            </p:nvSpPr>
            <p:spPr bwMode="auto">
              <a:xfrm>
                <a:off x="1764449" y="3500438"/>
                <a:ext cx="1655219" cy="576262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26" name="Oval 25"/>
              <p:cNvSpPr>
                <a:spLocks noChangeArrowheads="1"/>
              </p:cNvSpPr>
              <p:nvPr/>
            </p:nvSpPr>
            <p:spPr bwMode="auto">
              <a:xfrm>
                <a:off x="1259790" y="2420938"/>
                <a:ext cx="2520122" cy="576262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65572" name="Freeform 22"/>
              <p:cNvSpPr>
                <a:spLocks/>
              </p:cNvSpPr>
              <p:nvPr/>
            </p:nvSpPr>
            <p:spPr bwMode="auto">
              <a:xfrm>
                <a:off x="2013605" y="4554538"/>
                <a:ext cx="318982" cy="728662"/>
              </a:xfrm>
              <a:custGeom>
                <a:avLst/>
                <a:gdLst>
                  <a:gd name="T0" fmla="*/ 304923 w 319882"/>
                  <a:gd name="T1" fmla="*/ 737178 h 728133"/>
                  <a:gd name="T2" fmla="*/ 14377 w 319882"/>
                  <a:gd name="T3" fmla="*/ 428592 h 728133"/>
                  <a:gd name="T4" fmla="*/ 62801 w 319882"/>
                  <a:gd name="T5" fmla="*/ 102862 h 728133"/>
                  <a:gd name="T6" fmla="*/ 224215 w 319882"/>
                  <a:gd name="T7" fmla="*/ 0 h 72813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19882" h="728133">
                    <a:moveTo>
                      <a:pt x="319882" y="728133"/>
                    </a:moveTo>
                    <a:cubicBezTo>
                      <a:pt x="188648" y="627944"/>
                      <a:pt x="57415" y="527755"/>
                      <a:pt x="15082" y="423333"/>
                    </a:cubicBezTo>
                    <a:cubicBezTo>
                      <a:pt x="-27251" y="318911"/>
                      <a:pt x="29193" y="172155"/>
                      <a:pt x="65882" y="101600"/>
                    </a:cubicBezTo>
                    <a:cubicBezTo>
                      <a:pt x="102571" y="31045"/>
                      <a:pt x="235216" y="0"/>
                      <a:pt x="235216" y="0"/>
                    </a:cubicBezTo>
                  </a:path>
                </a:pathLst>
              </a:custGeom>
              <a:noFill/>
              <a:ln w="38100" cap="flat" cmpd="sng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dist="12700" dir="5400000" sx="102000" sy="102000" rotWithShape="0">
                  <a:srgbClr val="000000">
                    <a:alpha val="2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pt-BR"/>
              </a:p>
            </p:txBody>
          </p:sp>
          <p:sp>
            <p:nvSpPr>
              <p:cNvPr id="65573" name="Freeform 23"/>
              <p:cNvSpPr>
                <a:spLocks/>
              </p:cNvSpPr>
              <p:nvPr/>
            </p:nvSpPr>
            <p:spPr bwMode="auto">
              <a:xfrm>
                <a:off x="1653360" y="3657600"/>
                <a:ext cx="511007" cy="1201738"/>
              </a:xfrm>
              <a:custGeom>
                <a:avLst/>
                <a:gdLst>
                  <a:gd name="T0" fmla="*/ 532214 w 509710"/>
                  <a:gd name="T1" fmla="*/ 1193305 h 1202267"/>
                  <a:gd name="T2" fmla="*/ 125552 w 509710"/>
                  <a:gd name="T3" fmla="*/ 823548 h 1202267"/>
                  <a:gd name="T4" fmla="*/ 1780 w 509710"/>
                  <a:gd name="T5" fmla="*/ 403369 h 1202267"/>
                  <a:gd name="T6" fmla="*/ 196276 w 509710"/>
                  <a:gd name="T7" fmla="*/ 0 h 1202267"/>
                  <a:gd name="T8" fmla="*/ 196276 w 509710"/>
                  <a:gd name="T9" fmla="*/ 0 h 12022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09710" h="1202267">
                    <a:moveTo>
                      <a:pt x="509710" y="1202267"/>
                    </a:moveTo>
                    <a:cubicBezTo>
                      <a:pt x="357310" y="1082322"/>
                      <a:pt x="204910" y="962377"/>
                      <a:pt x="120243" y="829733"/>
                    </a:cubicBezTo>
                    <a:cubicBezTo>
                      <a:pt x="35576" y="697088"/>
                      <a:pt x="-9579" y="544689"/>
                      <a:pt x="1710" y="406400"/>
                    </a:cubicBezTo>
                    <a:cubicBezTo>
                      <a:pt x="12999" y="268111"/>
                      <a:pt x="156933" y="67733"/>
                      <a:pt x="187977" y="0"/>
                    </a:cubicBezTo>
                  </a:path>
                </a:pathLst>
              </a:custGeom>
              <a:noFill/>
              <a:ln w="38100" cap="flat" cmpd="sng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dist="12700" dir="5400000" sx="102000" sy="102000" rotWithShape="0">
                  <a:srgbClr val="000000">
                    <a:alpha val="2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pt-BR"/>
              </a:p>
            </p:txBody>
          </p:sp>
          <p:sp>
            <p:nvSpPr>
              <p:cNvPr id="65574" name="Freeform 26"/>
              <p:cNvSpPr>
                <a:spLocks/>
              </p:cNvSpPr>
              <p:nvPr/>
            </p:nvSpPr>
            <p:spPr bwMode="auto">
              <a:xfrm>
                <a:off x="1204246" y="2471738"/>
                <a:ext cx="756988" cy="1422400"/>
              </a:xfrm>
              <a:custGeom>
                <a:avLst/>
                <a:gdLst>
                  <a:gd name="T0" fmla="*/ 625044 w 756717"/>
                  <a:gd name="T1" fmla="*/ 1422400 h 1422400"/>
                  <a:gd name="T2" fmla="*/ 96911 w 756717"/>
                  <a:gd name="T3" fmla="*/ 880533 h 1422400"/>
                  <a:gd name="T4" fmla="*/ 62824 w 756717"/>
                  <a:gd name="T5" fmla="*/ 169333 h 1422400"/>
                  <a:gd name="T6" fmla="*/ 761336 w 756717"/>
                  <a:gd name="T7" fmla="*/ 0 h 1422400"/>
                  <a:gd name="T8" fmla="*/ 761336 w 756717"/>
                  <a:gd name="T9" fmla="*/ 0 h 1422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56717" h="1422400">
                    <a:moveTo>
                      <a:pt x="621250" y="1422400"/>
                    </a:moveTo>
                    <a:cubicBezTo>
                      <a:pt x="405350" y="1255888"/>
                      <a:pt x="189450" y="1089377"/>
                      <a:pt x="96317" y="880533"/>
                    </a:cubicBezTo>
                    <a:cubicBezTo>
                      <a:pt x="3184" y="671689"/>
                      <a:pt x="-47617" y="316089"/>
                      <a:pt x="62450" y="169333"/>
                    </a:cubicBezTo>
                    <a:cubicBezTo>
                      <a:pt x="172517" y="22577"/>
                      <a:pt x="641006" y="28222"/>
                      <a:pt x="756717" y="0"/>
                    </a:cubicBezTo>
                  </a:path>
                </a:pathLst>
              </a:custGeom>
              <a:noFill/>
              <a:ln w="38100" cap="flat" cmpd="sng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dist="12700" dir="5400000" sx="102000" sy="102000" rotWithShape="0">
                  <a:srgbClr val="000000">
                    <a:alpha val="2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pt-BR"/>
              </a:p>
            </p:txBody>
          </p:sp>
          <p:sp>
            <p:nvSpPr>
              <p:cNvPr id="65575" name="Freeform 27"/>
              <p:cNvSpPr>
                <a:spLocks/>
              </p:cNvSpPr>
              <p:nvPr/>
            </p:nvSpPr>
            <p:spPr bwMode="auto">
              <a:xfrm>
                <a:off x="1012221" y="2336800"/>
                <a:ext cx="439594" cy="525463"/>
              </a:xfrm>
              <a:custGeom>
                <a:avLst/>
                <a:gdLst>
                  <a:gd name="T0" fmla="*/ 428962 w 440267"/>
                  <a:gd name="T1" fmla="*/ 534017 h 524933"/>
                  <a:gd name="T2" fmla="*/ 230981 w 440267"/>
                  <a:gd name="T3" fmla="*/ 361753 h 524933"/>
                  <a:gd name="T4" fmla="*/ 0 w 440267"/>
                  <a:gd name="T5" fmla="*/ 0 h 524933"/>
                  <a:gd name="T6" fmla="*/ 0 w 440267"/>
                  <a:gd name="T7" fmla="*/ 0 h 52493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40267" h="524933">
                    <a:moveTo>
                      <a:pt x="440267" y="524933"/>
                    </a:moveTo>
                    <a:cubicBezTo>
                      <a:pt x="375356" y="484011"/>
                      <a:pt x="310445" y="443089"/>
                      <a:pt x="237067" y="355600"/>
                    </a:cubicBezTo>
                    <a:cubicBezTo>
                      <a:pt x="163689" y="268111"/>
                      <a:pt x="39511" y="59267"/>
                      <a:pt x="0" y="0"/>
                    </a:cubicBezTo>
                  </a:path>
                </a:pathLst>
              </a:custGeom>
              <a:noFill/>
              <a:ln w="38100" cap="flat" cmpd="sng">
                <a:solidFill>
                  <a:schemeClr val="accent2"/>
                </a:solidFill>
                <a:prstDash val="dash"/>
                <a:round/>
                <a:headEnd/>
                <a:tailEnd/>
              </a:ln>
              <a:effectLst>
                <a:outerShdw dist="12700" dir="5400000" sx="102000" sy="102000" rotWithShape="0">
                  <a:srgbClr val="000000">
                    <a:alpha val="2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pt-BR"/>
              </a:p>
            </p:txBody>
          </p:sp>
        </p:grpSp>
        <p:sp>
          <p:nvSpPr>
            <p:cNvPr id="65551" name="TextBox 29"/>
            <p:cNvSpPr txBox="1">
              <a:spLocks noChangeArrowheads="1"/>
            </p:cNvSpPr>
            <p:nvPr/>
          </p:nvSpPr>
          <p:spPr bwMode="auto">
            <a:xfrm>
              <a:off x="1379538" y="5305373"/>
              <a:ext cx="935037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Participar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2051050" y="5300663"/>
              <a:ext cx="144463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2195513" y="4652963"/>
              <a:ext cx="142875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7" name="Oval 36"/>
            <p:cNvSpPr>
              <a:spLocks noChangeArrowheads="1"/>
            </p:cNvSpPr>
            <p:nvPr/>
          </p:nvSpPr>
          <p:spPr bwMode="auto">
            <a:xfrm>
              <a:off x="2771775" y="4652963"/>
              <a:ext cx="142875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8" name="Oval 37"/>
            <p:cNvSpPr>
              <a:spLocks noChangeArrowheads="1"/>
            </p:cNvSpPr>
            <p:nvPr/>
          </p:nvSpPr>
          <p:spPr bwMode="auto">
            <a:xfrm>
              <a:off x="2627313" y="5013325"/>
              <a:ext cx="144462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>
              <a:off x="1619250" y="4581525"/>
              <a:ext cx="144463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2051050" y="3644900"/>
              <a:ext cx="144463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1" name="Oval 40"/>
            <p:cNvSpPr>
              <a:spLocks noChangeArrowheads="1"/>
            </p:cNvSpPr>
            <p:nvPr/>
          </p:nvSpPr>
          <p:spPr bwMode="auto">
            <a:xfrm>
              <a:off x="2914650" y="3644900"/>
              <a:ext cx="144463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2" name="Oval 41"/>
            <p:cNvSpPr>
              <a:spLocks noChangeArrowheads="1"/>
            </p:cNvSpPr>
            <p:nvPr/>
          </p:nvSpPr>
          <p:spPr bwMode="auto">
            <a:xfrm>
              <a:off x="2627313" y="4149725"/>
              <a:ext cx="144462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3" name="Oval 42"/>
            <p:cNvSpPr>
              <a:spLocks noChangeArrowheads="1"/>
            </p:cNvSpPr>
            <p:nvPr/>
          </p:nvSpPr>
          <p:spPr bwMode="auto">
            <a:xfrm>
              <a:off x="1074738" y="3624263"/>
              <a:ext cx="142875" cy="215900"/>
            </a:xfrm>
            <a:prstGeom prst="ellipse">
              <a:avLst/>
            </a:prstGeom>
            <a:solidFill>
              <a:srgbClr val="D99694"/>
            </a:solidFill>
            <a:ln w="9525">
              <a:solidFill>
                <a:srgbClr val="4A7EBB"/>
              </a:solidFill>
              <a:prstDash val="sysDash"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5561" name="TextBox 43"/>
            <p:cNvSpPr txBox="1">
              <a:spLocks noChangeArrowheads="1"/>
            </p:cNvSpPr>
            <p:nvPr/>
          </p:nvSpPr>
          <p:spPr bwMode="auto">
            <a:xfrm>
              <a:off x="1925834" y="4405658"/>
              <a:ext cx="1150938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Envolver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2" name="TextBox 44"/>
            <p:cNvSpPr txBox="1">
              <a:spLocks noChangeArrowheads="1"/>
            </p:cNvSpPr>
            <p:nvPr/>
          </p:nvSpPr>
          <p:spPr bwMode="auto">
            <a:xfrm>
              <a:off x="2663425" y="4412135"/>
              <a:ext cx="1150937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Sucesso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3" name="TextBox 45"/>
            <p:cNvSpPr txBox="1">
              <a:spLocks noChangeArrowheads="1"/>
            </p:cNvSpPr>
            <p:nvPr/>
          </p:nvSpPr>
          <p:spPr bwMode="auto">
            <a:xfrm>
              <a:off x="2510716" y="5201702"/>
              <a:ext cx="1152525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Reconhecer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4" name="TextBox 46"/>
            <p:cNvSpPr txBox="1">
              <a:spLocks noChangeArrowheads="1"/>
            </p:cNvSpPr>
            <p:nvPr/>
          </p:nvSpPr>
          <p:spPr bwMode="auto">
            <a:xfrm>
              <a:off x="1035842" y="4595456"/>
              <a:ext cx="935037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Motivar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5" name="TextBox 47"/>
            <p:cNvSpPr txBox="1">
              <a:spLocks noChangeArrowheads="1"/>
            </p:cNvSpPr>
            <p:nvPr/>
          </p:nvSpPr>
          <p:spPr bwMode="auto">
            <a:xfrm>
              <a:off x="1836736" y="3376871"/>
              <a:ext cx="1152525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Envolver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6" name="TextBox 48"/>
            <p:cNvSpPr txBox="1">
              <a:spLocks noChangeArrowheads="1"/>
            </p:cNvSpPr>
            <p:nvPr/>
          </p:nvSpPr>
          <p:spPr bwMode="auto">
            <a:xfrm>
              <a:off x="2732684" y="3376871"/>
              <a:ext cx="1150937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Sucesso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7" name="TextBox 49"/>
            <p:cNvSpPr txBox="1">
              <a:spLocks noChangeArrowheads="1"/>
            </p:cNvSpPr>
            <p:nvPr/>
          </p:nvSpPr>
          <p:spPr bwMode="auto">
            <a:xfrm>
              <a:off x="2306638" y="3904944"/>
              <a:ext cx="1152525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Reconhecer</a:t>
              </a:r>
              <a:endParaRPr lang="en-US" sz="1575" dirty="0">
                <a:latin typeface="Calibri"/>
              </a:endParaRPr>
            </a:p>
          </p:txBody>
        </p:sp>
        <p:sp>
          <p:nvSpPr>
            <p:cNvPr id="65568" name="TextBox 50"/>
            <p:cNvSpPr txBox="1">
              <a:spLocks noChangeArrowheads="1"/>
            </p:cNvSpPr>
            <p:nvPr/>
          </p:nvSpPr>
          <p:spPr bwMode="auto">
            <a:xfrm>
              <a:off x="876932" y="3852595"/>
              <a:ext cx="936625" cy="236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75" dirty="0" err="1">
                  <a:latin typeface="Calibri"/>
                </a:rPr>
                <a:t>Motivar</a:t>
              </a:r>
              <a:endParaRPr lang="en-US" sz="1575" dirty="0">
                <a:latin typeface="Calibri"/>
              </a:endParaRPr>
            </a:p>
          </p:txBody>
        </p:sp>
      </p:grpSp>
      <p:sp>
        <p:nvSpPr>
          <p:cNvPr id="65541" name="TextBox 31"/>
          <p:cNvSpPr txBox="1">
            <a:spLocks noChangeArrowheads="1"/>
          </p:cNvSpPr>
          <p:nvPr/>
        </p:nvSpPr>
        <p:spPr bwMode="auto">
          <a:xfrm>
            <a:off x="10454155" y="8675722"/>
            <a:ext cx="2669129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575" i="1" dirty="0">
                <a:latin typeface="Calibri"/>
              </a:rPr>
              <a:t>Fonte: </a:t>
            </a:r>
            <a:r>
              <a:rPr lang="en-US" sz="1575" dirty="0">
                <a:latin typeface="Calibri"/>
              </a:rPr>
              <a:t>Benoit e Francis (2001).</a:t>
            </a:r>
          </a:p>
        </p:txBody>
      </p:sp>
      <p:sp>
        <p:nvSpPr>
          <p:cNvPr id="65542" name="Text Box 2"/>
          <p:cNvSpPr txBox="1">
            <a:spLocks noChangeArrowheads="1"/>
          </p:cNvSpPr>
          <p:nvPr/>
        </p:nvSpPr>
        <p:spPr bwMode="auto">
          <a:xfrm>
            <a:off x="6310682" y="7042289"/>
            <a:ext cx="3457575" cy="1690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50000"/>
              </a:lnSpc>
              <a:spcBef>
                <a:spcPct val="100000"/>
              </a:spcBef>
            </a:pPr>
            <a:r>
              <a:rPr lang="pt-BR" sz="1575" dirty="0">
                <a:latin typeface="Calibri"/>
              </a:rPr>
              <a:t>Preparação + comunicação	</a:t>
            </a:r>
          </a:p>
          <a:p>
            <a:pPr eaLnBrk="1" hangingPunct="1">
              <a:lnSpc>
                <a:spcPct val="50000"/>
              </a:lnSpc>
              <a:spcBef>
                <a:spcPct val="100000"/>
              </a:spcBef>
            </a:pPr>
            <a:r>
              <a:rPr lang="pt-BR" sz="1575" dirty="0">
                <a:latin typeface="Calibri"/>
              </a:rPr>
              <a:t>Participação + envolvimento</a:t>
            </a:r>
          </a:p>
          <a:p>
            <a:pPr eaLnBrk="1" hangingPunct="1">
              <a:lnSpc>
                <a:spcPct val="50000"/>
              </a:lnSpc>
              <a:spcBef>
                <a:spcPct val="100000"/>
              </a:spcBef>
            </a:pPr>
            <a:r>
              <a:rPr lang="pt-BR" sz="1575" dirty="0">
                <a:latin typeface="Calibri"/>
              </a:rPr>
              <a:t>Facilitação + apoio</a:t>
            </a:r>
          </a:p>
          <a:p>
            <a:pPr eaLnBrk="1" hangingPunct="1">
              <a:lnSpc>
                <a:spcPct val="50000"/>
              </a:lnSpc>
              <a:spcBef>
                <a:spcPct val="100000"/>
              </a:spcBef>
            </a:pPr>
            <a:r>
              <a:rPr lang="pt-BR" sz="1575" dirty="0">
                <a:latin typeface="Calibri"/>
              </a:rPr>
              <a:t>Negociação + acordo</a:t>
            </a:r>
          </a:p>
          <a:p>
            <a:pPr eaLnBrk="1" hangingPunct="1">
              <a:lnSpc>
                <a:spcPct val="50000"/>
              </a:lnSpc>
              <a:spcBef>
                <a:spcPct val="100000"/>
              </a:spcBef>
            </a:pPr>
            <a:r>
              <a:rPr lang="pt-BR" sz="1575" dirty="0">
                <a:latin typeface="Calibri"/>
              </a:rPr>
              <a:t>		</a:t>
            </a:r>
          </a:p>
        </p:txBody>
      </p:sp>
      <p:sp>
        <p:nvSpPr>
          <p:cNvPr id="4" name="Down Arrow 3"/>
          <p:cNvSpPr/>
          <p:nvPr/>
        </p:nvSpPr>
        <p:spPr bwMode="auto">
          <a:xfrm>
            <a:off x="5578162" y="6781493"/>
            <a:ext cx="744487" cy="1931956"/>
          </a:xfrm>
          <a:prstGeom prst="downArrow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008000"/>
              </a:gs>
              <a:gs pos="36000">
                <a:srgbClr val="FFFF00"/>
              </a:gs>
              <a:gs pos="59000">
                <a:srgbClr val="FFFF00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pt-BR" dirty="0"/>
          </a:p>
        </p:txBody>
      </p:sp>
      <p:sp>
        <p:nvSpPr>
          <p:cNvPr id="8" name="Bent Arrow 7"/>
          <p:cNvSpPr/>
          <p:nvPr/>
        </p:nvSpPr>
        <p:spPr bwMode="auto">
          <a:xfrm rot="5400000">
            <a:off x="6400462" y="6085583"/>
            <a:ext cx="464344" cy="684015"/>
          </a:xfrm>
          <a:prstGeom prst="bentArrow">
            <a:avLst/>
          </a:prstGeom>
          <a:solidFill>
            <a:srgbClr val="69ADE7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pt-BR" dirty="0"/>
          </a:p>
        </p:txBody>
      </p:sp>
      <p:sp>
        <p:nvSpPr>
          <p:cNvPr id="65547" name="TextBox 21"/>
          <p:cNvSpPr txBox="1">
            <a:spLocks noChangeArrowheads="1"/>
          </p:cNvSpPr>
          <p:nvPr/>
        </p:nvSpPr>
        <p:spPr bwMode="auto">
          <a:xfrm>
            <a:off x="4416876" y="7401001"/>
            <a:ext cx="1200137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1575" dirty="0">
                <a:latin typeface="Calibri"/>
              </a:rPr>
              <a:t>Uso da forç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A7B0A3C-5743-220A-C6DB-895C09378805}"/>
              </a:ext>
            </a:extLst>
          </p:cNvPr>
          <p:cNvSpPr txBox="1"/>
          <p:nvPr/>
        </p:nvSpPr>
        <p:spPr>
          <a:xfrm>
            <a:off x="267976" y="694339"/>
            <a:ext cx="728472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>
                <a:solidFill>
                  <a:srgbClr val="69ADE7"/>
                </a:solidFill>
                <a:latin typeface="+mj-lt"/>
              </a:rPr>
              <a:t>Construir a equipe de orientação</a:t>
            </a:r>
          </a:p>
        </p:txBody>
      </p:sp>
    </p:spTree>
    <p:extLst>
      <p:ext uri="{BB962C8B-B14F-4D97-AF65-F5344CB8AC3E}">
        <p14:creationId xmlns:p14="http://schemas.microsoft.com/office/powerpoint/2010/main" val="184517080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3FD8AF0-F05A-4E24-84FC-42D904D2A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647" y="462980"/>
            <a:ext cx="9286875" cy="900113"/>
          </a:xfrm>
        </p:spPr>
        <p:txBody>
          <a:bodyPr vert="horz" lIns="102870" tIns="51435" rIns="102870" bIns="51435" rtlCol="0" anchor="t" anchorCtr="0">
            <a:noAutofit/>
          </a:bodyPr>
          <a:lstStyle/>
          <a:p>
            <a:r>
              <a:rPr lang="en-US" sz="4000" cap="none" dirty="0" err="1">
                <a:solidFill>
                  <a:srgbClr val="69ADE7"/>
                </a:solidFill>
                <a:latin typeface="+mj-lt"/>
                <a:ea typeface="+mn-ea"/>
                <a:cs typeface="Arial" panose="020B0604020202020204" pitchFamily="34" charset="0"/>
              </a:rPr>
              <a:t>Papéis</a:t>
            </a:r>
            <a:r>
              <a:rPr lang="en-US" sz="4000" cap="none" dirty="0">
                <a:solidFill>
                  <a:srgbClr val="69ADE7"/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8" name="Espaço Reservado para Conteúdo 5">
            <a:extLst>
              <a:ext uri="{FF2B5EF4-FFF2-40B4-BE49-F238E27FC236}">
                <a16:creationId xmlns:a16="http://schemas.microsoft.com/office/drawing/2014/main" id="{B84A04F7-DFF4-4796-BDE4-49711944B41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023263123"/>
              </p:ext>
            </p:extLst>
          </p:nvPr>
        </p:nvGraphicFramePr>
        <p:xfrm>
          <a:off x="737320" y="2263180"/>
          <a:ext cx="11706174" cy="61237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66043484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9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737320" y="2199312"/>
            <a:ext cx="11899900" cy="16525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400050" indent="-400050" algn="just">
              <a:lnSpc>
                <a:spcPct val="110000"/>
              </a:lnSpc>
              <a:spcBef>
                <a:spcPts val="1350"/>
              </a:spcBef>
              <a:buClr>
                <a:srgbClr val="69ADE7"/>
              </a:buClr>
              <a:defRPr/>
            </a:pPr>
            <a:r>
              <a:rPr lang="pt-BR" sz="3100" dirty="0">
                <a:ea typeface="ＭＳ Ｐゴシック" pitchFamily="34" charset="-128"/>
                <a:cs typeface="Arial" pitchFamily="34" charset="0"/>
              </a:rPr>
              <a:t>Claro sentido de “</a:t>
            </a:r>
            <a:r>
              <a:rPr lang="pt-BR" altLang="ja-JP" sz="3100" dirty="0">
                <a:ea typeface="ＭＳ Ｐゴシック" pitchFamily="34" charset="-128"/>
                <a:cs typeface="Arial" pitchFamily="34" charset="0"/>
              </a:rPr>
              <a:t>visão” – resultado futuro e vontade de realizar.</a:t>
            </a:r>
          </a:p>
          <a:p>
            <a:pPr marL="400050" indent="-400050" algn="just">
              <a:lnSpc>
                <a:spcPct val="110000"/>
              </a:lnSpc>
              <a:spcBef>
                <a:spcPts val="1350"/>
              </a:spcBef>
              <a:buClr>
                <a:srgbClr val="69ADE7"/>
              </a:buClr>
              <a:defRPr/>
            </a:pPr>
            <a:r>
              <a:rPr lang="pt-BR" sz="3100" dirty="0">
                <a:ea typeface="ＭＳ Ｐゴシック" pitchFamily="34" charset="-128"/>
                <a:cs typeface="Arial" pitchFamily="34" charset="0"/>
              </a:rPr>
              <a:t>Interdependência – entender e apreciar a contribuição dos outros.</a:t>
            </a:r>
          </a:p>
          <a:p>
            <a:pPr marL="400050" indent="-400050" algn="just">
              <a:lnSpc>
                <a:spcPct val="110000"/>
              </a:lnSpc>
              <a:spcBef>
                <a:spcPts val="1350"/>
              </a:spcBef>
              <a:buClr>
                <a:srgbClr val="69ADE7"/>
              </a:buClr>
              <a:defRPr/>
            </a:pPr>
            <a:r>
              <a:rPr lang="pt-BR" sz="3100" dirty="0">
                <a:ea typeface="ＭＳ Ｐゴシック" pitchFamily="34" charset="-128"/>
                <a:cs typeface="Arial" pitchFamily="34" charset="0"/>
              </a:rPr>
              <a:t>Confiança – grau de conforto com os colegas.</a:t>
            </a:r>
            <a:endParaRPr lang="pt-BR" sz="3100" dirty="0"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39627" name="Rectangle 11"/>
          <p:cNvSpPr>
            <a:spLocks noChangeArrowheads="1"/>
          </p:cNvSpPr>
          <p:nvPr/>
        </p:nvSpPr>
        <p:spPr bwMode="auto">
          <a:xfrm>
            <a:off x="161256" y="5503540"/>
            <a:ext cx="12728376" cy="775097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algn="ctr" defTabSz="1028700" fontAlgn="auto">
              <a:spcBef>
                <a:spcPts val="0"/>
              </a:spcBef>
              <a:spcAft>
                <a:spcPts val="0"/>
              </a:spcAft>
              <a:tabLst>
                <a:tab pos="1014413" algn="l"/>
              </a:tabLst>
            </a:pPr>
            <a:r>
              <a:rPr lang="pt-BR" sz="3100" dirty="0">
                <a:solidFill>
                  <a:prstClr val="black"/>
                </a:solidFill>
                <a:latin typeface="Calibri" panose="020F0502020204030204"/>
                <a:cs typeface="+mn-cs"/>
              </a:rPr>
              <a:t>Conflitos são inevitáveis – é preciso administrá-los!</a:t>
            </a:r>
          </a:p>
        </p:txBody>
      </p:sp>
      <p:sp>
        <p:nvSpPr>
          <p:cNvPr id="58379" name="Rectangle 2"/>
          <p:cNvSpPr txBox="1">
            <a:spLocks noChangeArrowheads="1"/>
          </p:cNvSpPr>
          <p:nvPr/>
        </p:nvSpPr>
        <p:spPr bwMode="auto">
          <a:xfrm>
            <a:off x="478981" y="555036"/>
            <a:ext cx="897130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1028700">
              <a:lnSpc>
                <a:spcPct val="90000"/>
              </a:lnSpc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+mn-ea"/>
              </a:rPr>
              <a:t>Transformar o grupo em uma equipe</a:t>
            </a:r>
          </a:p>
        </p:txBody>
      </p:sp>
    </p:spTree>
    <p:extLst>
      <p:ext uri="{BB962C8B-B14F-4D97-AF65-F5344CB8AC3E}">
        <p14:creationId xmlns:p14="http://schemas.microsoft.com/office/powerpoint/2010/main" val="1973652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9627" grpId="0"/>
    </p:bld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A1373C-EF23-4298-B7E5-2696B402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46856" y="679004"/>
            <a:ext cx="9286875" cy="900113"/>
          </a:xfrm>
        </p:spPr>
        <p:txBody>
          <a:bodyPr anchor="t" anchorCtr="0">
            <a:noAutofit/>
          </a:bodyPr>
          <a:lstStyle/>
          <a:p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Principais</a:t>
            </a:r>
            <a:r>
              <a:rPr lang="en-US" sz="4000" b="1" dirty="0">
                <a:solidFill>
                  <a:srgbClr val="69ADE7"/>
                </a:solidFill>
                <a:latin typeface="Calibri" panose="020F0502020204030204" pitchFamily="34" charset="0"/>
              </a:rPr>
              <a:t> </a:t>
            </a: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motivos</a:t>
            </a:r>
            <a:r>
              <a:rPr lang="en-US" sz="4000" b="1" dirty="0">
                <a:solidFill>
                  <a:srgbClr val="69ADE7"/>
                </a:solidFill>
                <a:latin typeface="Calibri" panose="020F0502020204030204" pitchFamily="34" charset="0"/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resistência</a:t>
            </a:r>
            <a:endParaRPr lang="pt-BR" sz="4000" b="1" dirty="0">
              <a:solidFill>
                <a:srgbClr val="69ADE7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5711A0E-A428-4ED1-96CB-33D69FD8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558989" y="3585155"/>
            <a:ext cx="8598025" cy="90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9"/>
          <a:stretch/>
        </p:blipFill>
        <p:spPr>
          <a:xfrm>
            <a:off x="624348" y="1903140"/>
            <a:ext cx="10532663" cy="8015814"/>
          </a:xfrm>
          <a:prstGeom prst="rect">
            <a:avLst/>
          </a:prstGeom>
        </p:spPr>
      </p:pic>
      <p:sp>
        <p:nvSpPr>
          <p:cNvPr id="4" name="Retângulo: Cantos Diagonais Arredondados 3">
            <a:extLst>
              <a:ext uri="{FF2B5EF4-FFF2-40B4-BE49-F238E27FC236}">
                <a16:creationId xmlns:a16="http://schemas.microsoft.com/office/drawing/2014/main" id="{0CBD0A0C-7088-77EE-2153-281979D2C79A}"/>
              </a:ext>
            </a:extLst>
          </p:cNvPr>
          <p:cNvSpPr/>
          <p:nvPr/>
        </p:nvSpPr>
        <p:spPr>
          <a:xfrm>
            <a:off x="397564" y="3271292"/>
            <a:ext cx="8062739" cy="1035530"/>
          </a:xfrm>
          <a:prstGeom prst="round2DiagRect">
            <a:avLst>
              <a:gd name="adj1" fmla="val 16667"/>
              <a:gd name="adj2" fmla="val 32135"/>
            </a:avLst>
          </a:prstGeom>
          <a:noFill/>
          <a:ln w="38100">
            <a:solidFill>
              <a:srgbClr val="69ADE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Seta: para Baixo 4">
            <a:extLst>
              <a:ext uri="{FF2B5EF4-FFF2-40B4-BE49-F238E27FC236}">
                <a16:creationId xmlns:a16="http://schemas.microsoft.com/office/drawing/2014/main" id="{7F4E0EA1-F695-DCF9-19D1-17040CF2334D}"/>
              </a:ext>
            </a:extLst>
          </p:cNvPr>
          <p:cNvSpPr/>
          <p:nvPr/>
        </p:nvSpPr>
        <p:spPr>
          <a:xfrm rot="2479379">
            <a:off x="6628173" y="2010691"/>
            <a:ext cx="1152128" cy="1035530"/>
          </a:xfrm>
          <a:prstGeom prst="downArrow">
            <a:avLst/>
          </a:prstGeom>
          <a:solidFill>
            <a:srgbClr val="69ADE7"/>
          </a:solidFill>
          <a:ln>
            <a:solidFill>
              <a:srgbClr val="69ADE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1902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oft skills e hard skills: você sabe qual a diferença?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328" y="2191172"/>
            <a:ext cx="11670059" cy="5984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772873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5" name="Line 3"/>
          <p:cNvSpPr>
            <a:spLocks noChangeShapeType="1"/>
          </p:cNvSpPr>
          <p:nvPr/>
        </p:nvSpPr>
        <p:spPr bwMode="auto">
          <a:xfrm flipV="1">
            <a:off x="2134886" y="2750012"/>
            <a:ext cx="0" cy="2828925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pt-BR" dirty="0"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38596" name="Line 4"/>
          <p:cNvSpPr>
            <a:spLocks noChangeShapeType="1"/>
          </p:cNvSpPr>
          <p:nvPr/>
        </p:nvSpPr>
        <p:spPr bwMode="auto">
          <a:xfrm>
            <a:off x="2134886" y="5578937"/>
            <a:ext cx="6086475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pt-BR" dirty="0"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57348" name="Freeform 5"/>
          <p:cNvSpPr>
            <a:spLocks/>
          </p:cNvSpPr>
          <p:nvPr/>
        </p:nvSpPr>
        <p:spPr bwMode="auto">
          <a:xfrm>
            <a:off x="2992138" y="3264362"/>
            <a:ext cx="3730823" cy="2314575"/>
          </a:xfrm>
          <a:custGeom>
            <a:avLst/>
            <a:gdLst>
              <a:gd name="T0" fmla="*/ 0 w 1872"/>
              <a:gd name="T1" fmla="*/ 2147483647 h 1160"/>
              <a:gd name="T2" fmla="*/ 2147483647 w 1872"/>
              <a:gd name="T3" fmla="*/ 2147483647 h 1160"/>
              <a:gd name="T4" fmla="*/ 2147483647 w 1872"/>
              <a:gd name="T5" fmla="*/ 2147483647 h 1160"/>
              <a:gd name="T6" fmla="*/ 2147483647 w 1872"/>
              <a:gd name="T7" fmla="*/ 2147483647 h 1160"/>
              <a:gd name="T8" fmla="*/ 2147483647 w 1872"/>
              <a:gd name="T9" fmla="*/ 2147483647 h 1160"/>
              <a:gd name="T10" fmla="*/ 2147483647 w 1872"/>
              <a:gd name="T11" fmla="*/ 2147483647 h 1160"/>
              <a:gd name="T12" fmla="*/ 2147483647 w 1872"/>
              <a:gd name="T13" fmla="*/ 2147483647 h 1160"/>
              <a:gd name="T14" fmla="*/ 2147483647 w 1872"/>
              <a:gd name="T15" fmla="*/ 2147483647 h 1160"/>
              <a:gd name="T16" fmla="*/ 2147483647 w 1872"/>
              <a:gd name="T17" fmla="*/ 2147483647 h 11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872"/>
              <a:gd name="T28" fmla="*/ 0 h 1160"/>
              <a:gd name="T29" fmla="*/ 1872 w 1872"/>
              <a:gd name="T30" fmla="*/ 1160 h 11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872" h="1160">
                <a:moveTo>
                  <a:pt x="0" y="1160"/>
                </a:moveTo>
                <a:cubicBezTo>
                  <a:pt x="180" y="1140"/>
                  <a:pt x="360" y="1120"/>
                  <a:pt x="480" y="1064"/>
                </a:cubicBezTo>
                <a:cubicBezTo>
                  <a:pt x="600" y="1008"/>
                  <a:pt x="656" y="896"/>
                  <a:pt x="720" y="824"/>
                </a:cubicBezTo>
                <a:cubicBezTo>
                  <a:pt x="784" y="752"/>
                  <a:pt x="816" y="696"/>
                  <a:pt x="864" y="632"/>
                </a:cubicBezTo>
                <a:cubicBezTo>
                  <a:pt x="912" y="568"/>
                  <a:pt x="944" y="520"/>
                  <a:pt x="1008" y="440"/>
                </a:cubicBezTo>
                <a:cubicBezTo>
                  <a:pt x="1072" y="360"/>
                  <a:pt x="1184" y="216"/>
                  <a:pt x="1248" y="152"/>
                </a:cubicBezTo>
                <a:cubicBezTo>
                  <a:pt x="1312" y="88"/>
                  <a:pt x="1312" y="80"/>
                  <a:pt x="1392" y="56"/>
                </a:cubicBezTo>
                <a:cubicBezTo>
                  <a:pt x="1472" y="32"/>
                  <a:pt x="1648" y="16"/>
                  <a:pt x="1728" y="8"/>
                </a:cubicBezTo>
                <a:cubicBezTo>
                  <a:pt x="1808" y="0"/>
                  <a:pt x="1848" y="8"/>
                  <a:pt x="1872" y="8"/>
                </a:cubicBezTo>
              </a:path>
            </a:pathLst>
          </a:custGeom>
          <a:noFill/>
          <a:ln w="5715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>
              <a:latin typeface="+mn-lt"/>
            </a:endParaRPr>
          </a:p>
        </p:txBody>
      </p:sp>
      <p:sp>
        <p:nvSpPr>
          <p:cNvPr id="238598" name="Line 6"/>
          <p:cNvSpPr>
            <a:spLocks noChangeShapeType="1"/>
          </p:cNvSpPr>
          <p:nvPr/>
        </p:nvSpPr>
        <p:spPr bwMode="auto">
          <a:xfrm flipV="1">
            <a:off x="3935111" y="2750012"/>
            <a:ext cx="0" cy="3086100"/>
          </a:xfrm>
          <a:prstGeom prst="line">
            <a:avLst/>
          </a:prstGeom>
          <a:noFill/>
          <a:ln w="28575">
            <a:solidFill>
              <a:schemeClr val="accent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pt-BR" dirty="0"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38599" name="Line 7"/>
          <p:cNvSpPr>
            <a:spLocks noChangeShapeType="1"/>
          </p:cNvSpPr>
          <p:nvPr/>
        </p:nvSpPr>
        <p:spPr bwMode="auto">
          <a:xfrm flipV="1">
            <a:off x="5751409" y="2776802"/>
            <a:ext cx="0" cy="3086100"/>
          </a:xfrm>
          <a:prstGeom prst="line">
            <a:avLst/>
          </a:prstGeom>
          <a:noFill/>
          <a:ln w="28575">
            <a:solidFill>
              <a:schemeClr val="accent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pt-BR" dirty="0"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38600" name="Text Box 8"/>
          <p:cNvSpPr txBox="1">
            <a:spLocks noChangeArrowheads="1"/>
          </p:cNvSpPr>
          <p:nvPr/>
        </p:nvSpPr>
        <p:spPr bwMode="auto">
          <a:xfrm>
            <a:off x="2600660" y="5689947"/>
            <a:ext cx="9634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400" dirty="0">
                <a:latin typeface="+mn-lt"/>
              </a:rPr>
              <a:t>Fase 1</a:t>
            </a:r>
          </a:p>
        </p:txBody>
      </p:sp>
      <p:sp>
        <p:nvSpPr>
          <p:cNvPr id="238601" name="Text Box 9"/>
          <p:cNvSpPr txBox="1">
            <a:spLocks noChangeArrowheads="1"/>
          </p:cNvSpPr>
          <p:nvPr/>
        </p:nvSpPr>
        <p:spPr bwMode="auto">
          <a:xfrm>
            <a:off x="4466438" y="5689947"/>
            <a:ext cx="9634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400" dirty="0">
                <a:latin typeface="+mn-lt"/>
              </a:rPr>
              <a:t>Fase 2</a:t>
            </a:r>
          </a:p>
        </p:txBody>
      </p:sp>
      <p:sp>
        <p:nvSpPr>
          <p:cNvPr id="238602" name="Text Box 10"/>
          <p:cNvSpPr txBox="1">
            <a:spLocks noChangeArrowheads="1"/>
          </p:cNvSpPr>
          <p:nvPr/>
        </p:nvSpPr>
        <p:spPr bwMode="auto">
          <a:xfrm>
            <a:off x="5872865" y="5689947"/>
            <a:ext cx="9634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400" dirty="0">
                <a:latin typeface="+mn-lt"/>
              </a:rPr>
              <a:t>Fase 3</a:t>
            </a:r>
          </a:p>
        </p:txBody>
      </p:sp>
      <p:sp>
        <p:nvSpPr>
          <p:cNvPr id="238603" name="Rectangle 11"/>
          <p:cNvSpPr>
            <a:spLocks noChangeArrowheads="1"/>
          </p:cNvSpPr>
          <p:nvPr/>
        </p:nvSpPr>
        <p:spPr bwMode="auto">
          <a:xfrm>
            <a:off x="2224185" y="5190129"/>
            <a:ext cx="994568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pt-BR" sz="1575">
                <a:latin typeface="+mn-lt"/>
              </a:rPr>
              <a:t>Formação</a:t>
            </a:r>
          </a:p>
        </p:txBody>
      </p:sp>
      <p:sp>
        <p:nvSpPr>
          <p:cNvPr id="238604" name="Rectangle 12"/>
          <p:cNvSpPr>
            <a:spLocks noChangeArrowheads="1"/>
          </p:cNvSpPr>
          <p:nvPr/>
        </p:nvSpPr>
        <p:spPr bwMode="auto">
          <a:xfrm>
            <a:off x="3074291" y="4924024"/>
            <a:ext cx="861070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pt-BR" sz="1575">
                <a:latin typeface="+mn-lt"/>
              </a:rPr>
              <a:t>Tumulto</a:t>
            </a:r>
          </a:p>
        </p:txBody>
      </p:sp>
      <p:sp>
        <p:nvSpPr>
          <p:cNvPr id="238605" name="Rectangle 13"/>
          <p:cNvSpPr>
            <a:spLocks noChangeArrowheads="1"/>
          </p:cNvSpPr>
          <p:nvPr/>
        </p:nvSpPr>
        <p:spPr bwMode="auto">
          <a:xfrm>
            <a:off x="3695796" y="4534690"/>
            <a:ext cx="1250663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pt-BR" sz="1575">
                <a:latin typeface="+mn-lt"/>
              </a:rPr>
              <a:t>Normalidade</a:t>
            </a:r>
          </a:p>
        </p:txBody>
      </p:sp>
      <p:sp>
        <p:nvSpPr>
          <p:cNvPr id="238606" name="Rectangle 14"/>
          <p:cNvSpPr>
            <a:spLocks noChangeArrowheads="1"/>
          </p:cNvSpPr>
          <p:nvPr/>
        </p:nvSpPr>
        <p:spPr bwMode="auto">
          <a:xfrm>
            <a:off x="3935111" y="3950689"/>
            <a:ext cx="1276311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pt-BR" sz="1575">
                <a:latin typeface="+mn-lt"/>
              </a:rPr>
              <a:t>Desempenho</a:t>
            </a:r>
          </a:p>
        </p:txBody>
      </p:sp>
      <p:sp>
        <p:nvSpPr>
          <p:cNvPr id="238607" name="Rectangle 15"/>
          <p:cNvSpPr>
            <a:spLocks noChangeArrowheads="1"/>
          </p:cNvSpPr>
          <p:nvPr/>
        </p:nvSpPr>
        <p:spPr bwMode="auto">
          <a:xfrm>
            <a:off x="4922736" y="2898771"/>
            <a:ext cx="1391343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pt-BR" sz="1575">
                <a:latin typeface="+mn-lt"/>
              </a:rPr>
              <a:t>Transformação</a:t>
            </a:r>
          </a:p>
        </p:txBody>
      </p:sp>
      <p:sp>
        <p:nvSpPr>
          <p:cNvPr id="57359" name="Text Box 16"/>
          <p:cNvSpPr txBox="1">
            <a:spLocks noChangeArrowheads="1"/>
          </p:cNvSpPr>
          <p:nvPr/>
        </p:nvSpPr>
        <p:spPr bwMode="auto">
          <a:xfrm>
            <a:off x="214021" y="2637160"/>
            <a:ext cx="15526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800" dirty="0">
                <a:latin typeface="+mn-lt"/>
              </a:rPr>
              <a:t>Evolução</a:t>
            </a:r>
          </a:p>
        </p:txBody>
      </p:sp>
      <p:sp>
        <p:nvSpPr>
          <p:cNvPr id="57360" name="Text Box 17"/>
          <p:cNvSpPr txBox="1">
            <a:spLocks noChangeArrowheads="1"/>
          </p:cNvSpPr>
          <p:nvPr/>
        </p:nvSpPr>
        <p:spPr bwMode="auto">
          <a:xfrm>
            <a:off x="7362029" y="5032633"/>
            <a:ext cx="117064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800" dirty="0">
                <a:latin typeface="+mn-lt"/>
              </a:rPr>
              <a:t>Tempo</a:t>
            </a:r>
          </a:p>
        </p:txBody>
      </p:sp>
      <p:sp>
        <p:nvSpPr>
          <p:cNvPr id="238610" name="Text Box 18"/>
          <p:cNvSpPr txBox="1">
            <a:spLocks noChangeArrowheads="1"/>
          </p:cNvSpPr>
          <p:nvPr/>
        </p:nvSpPr>
        <p:spPr bwMode="auto">
          <a:xfrm>
            <a:off x="2304550" y="6632022"/>
            <a:ext cx="5785366" cy="1882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1350"/>
              </a:spcBef>
              <a:buClr>
                <a:schemeClr val="tx1"/>
              </a:buClr>
              <a:buFont typeface="Rockwell" pitchFamily="18" charset="0"/>
              <a:buAutoNum type="arabicPeriod"/>
            </a:pPr>
            <a:r>
              <a:rPr lang="pt-BR" sz="3100" dirty="0">
                <a:latin typeface="+mn-lt"/>
              </a:rPr>
              <a:t>Formação – invenção do padrão.</a:t>
            </a:r>
          </a:p>
          <a:p>
            <a:pPr eaLnBrk="1" hangingPunct="1">
              <a:spcBef>
                <a:spcPts val="1350"/>
              </a:spcBef>
              <a:buClr>
                <a:schemeClr val="tx1"/>
              </a:buClr>
              <a:buFont typeface="Rockwell" pitchFamily="18" charset="0"/>
              <a:buAutoNum type="arabicPeriod"/>
            </a:pPr>
            <a:r>
              <a:rPr lang="pt-BR" sz="3100" dirty="0">
                <a:latin typeface="+mn-lt"/>
              </a:rPr>
              <a:t>Aperfeiçoamento padrão.</a:t>
            </a:r>
          </a:p>
          <a:p>
            <a:pPr eaLnBrk="1" hangingPunct="1">
              <a:spcBef>
                <a:spcPts val="1350"/>
              </a:spcBef>
              <a:buClr>
                <a:schemeClr val="tx1"/>
              </a:buClr>
              <a:buFont typeface="Rockwell" pitchFamily="18" charset="0"/>
              <a:buAutoNum type="arabicPeriod"/>
            </a:pPr>
            <a:r>
              <a:rPr lang="pt-BR" sz="3100" dirty="0">
                <a:latin typeface="+mn-lt"/>
              </a:rPr>
              <a:t>Reinvenção do futuro.</a:t>
            </a:r>
          </a:p>
        </p:txBody>
      </p:sp>
      <p:sp>
        <p:nvSpPr>
          <p:cNvPr id="238611" name="Rectangle 19"/>
          <p:cNvSpPr>
            <a:spLocks noChangeArrowheads="1"/>
          </p:cNvSpPr>
          <p:nvPr/>
        </p:nvSpPr>
        <p:spPr bwMode="auto">
          <a:xfrm>
            <a:off x="4506611" y="3547067"/>
            <a:ext cx="1245726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pt-BR" sz="1575">
                <a:latin typeface="+mn-lt"/>
              </a:rPr>
              <a:t>Acomodação</a:t>
            </a:r>
          </a:p>
        </p:txBody>
      </p:sp>
      <p:sp>
        <p:nvSpPr>
          <p:cNvPr id="238612" name="Text Box 20"/>
          <p:cNvSpPr txBox="1">
            <a:spLocks noChangeArrowheads="1"/>
          </p:cNvSpPr>
          <p:nvPr/>
        </p:nvSpPr>
        <p:spPr bwMode="auto">
          <a:xfrm>
            <a:off x="2014244" y="1903140"/>
            <a:ext cx="226814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sz="2400" dirty="0">
                <a:latin typeface="+mn-lt"/>
              </a:rPr>
              <a:t>Planejamento </a:t>
            </a:r>
            <a:br>
              <a:rPr lang="pt-BR" sz="2400" dirty="0">
                <a:latin typeface="+mn-lt"/>
              </a:rPr>
            </a:br>
            <a:r>
              <a:rPr lang="pt-BR" sz="2400" dirty="0">
                <a:latin typeface="+mn-lt"/>
              </a:rPr>
              <a:t>e organização</a:t>
            </a:r>
          </a:p>
        </p:txBody>
      </p:sp>
      <p:sp>
        <p:nvSpPr>
          <p:cNvPr id="238613" name="Text Box 21"/>
          <p:cNvSpPr txBox="1">
            <a:spLocks noChangeArrowheads="1"/>
          </p:cNvSpPr>
          <p:nvPr/>
        </p:nvSpPr>
        <p:spPr bwMode="auto">
          <a:xfrm>
            <a:off x="3838670" y="1903140"/>
            <a:ext cx="226814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sz="2400" dirty="0">
                <a:latin typeface="+mn-lt"/>
              </a:rPr>
              <a:t>Gerenciar </a:t>
            </a:r>
            <a:br>
              <a:rPr lang="pt-BR" sz="2400" dirty="0">
                <a:latin typeface="+mn-lt"/>
              </a:rPr>
            </a:br>
            <a:r>
              <a:rPr lang="pt-BR" sz="2400" dirty="0">
                <a:latin typeface="+mn-lt"/>
              </a:rPr>
              <a:t>a dinâmica</a:t>
            </a:r>
          </a:p>
        </p:txBody>
      </p:sp>
      <p:sp>
        <p:nvSpPr>
          <p:cNvPr id="238614" name="Line 22"/>
          <p:cNvSpPr>
            <a:spLocks noChangeShapeType="1"/>
          </p:cNvSpPr>
          <p:nvPr/>
        </p:nvSpPr>
        <p:spPr bwMode="auto">
          <a:xfrm>
            <a:off x="2177480" y="2776802"/>
            <a:ext cx="1701999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pt-BR">
              <a:latin typeface="+mn-lt"/>
            </a:endParaRPr>
          </a:p>
        </p:txBody>
      </p:sp>
      <p:sp>
        <p:nvSpPr>
          <p:cNvPr id="238615" name="Line 23"/>
          <p:cNvSpPr>
            <a:spLocks noChangeShapeType="1"/>
          </p:cNvSpPr>
          <p:nvPr/>
        </p:nvSpPr>
        <p:spPr bwMode="auto">
          <a:xfrm>
            <a:off x="4049688" y="2776802"/>
            <a:ext cx="1701998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pt-BR">
              <a:latin typeface="+mn-lt"/>
            </a:endParaRPr>
          </a:p>
        </p:txBody>
      </p:sp>
      <p:sp>
        <p:nvSpPr>
          <p:cNvPr id="57368" name="Rectangle 2"/>
          <p:cNvSpPr txBox="1">
            <a:spLocks noChangeArrowheads="1"/>
          </p:cNvSpPr>
          <p:nvPr/>
        </p:nvSpPr>
        <p:spPr bwMode="auto">
          <a:xfrm>
            <a:off x="483496" y="468315"/>
            <a:ext cx="613164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1028700">
              <a:lnSpc>
                <a:spcPct val="90000"/>
              </a:lnSpc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+mn-ea"/>
              </a:rPr>
              <a:t>Estágios da equipe</a:t>
            </a:r>
          </a:p>
        </p:txBody>
      </p:sp>
    </p:spTree>
    <p:extLst>
      <p:ext uri="{BB962C8B-B14F-4D97-AF65-F5344CB8AC3E}">
        <p14:creationId xmlns:p14="http://schemas.microsoft.com/office/powerpoint/2010/main" val="2596308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38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386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38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386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38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38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386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2385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2386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2385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238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238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2386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2386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238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2386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8600" grpId="0"/>
      <p:bldP spid="238601" grpId="0"/>
      <p:bldP spid="238602" grpId="0"/>
      <p:bldP spid="238603" grpId="0"/>
      <p:bldP spid="238605" grpId="0"/>
      <p:bldP spid="238607" grpId="0"/>
      <p:bldP spid="238610" grpId="0"/>
      <p:bldP spid="238611" grpId="0"/>
      <p:bldP spid="238612" grpId="0"/>
      <p:bldP spid="238613" grpId="0"/>
      <p:bldP spid="238614" grpId="0" animBg="1"/>
      <p:bldP spid="238615" grpId="0" animBg="1"/>
    </p:bld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5"/>
          <p:cNvSpPr txBox="1">
            <a:spLocks/>
          </p:cNvSpPr>
          <p:nvPr/>
        </p:nvSpPr>
        <p:spPr>
          <a:xfrm>
            <a:off x="931745" y="1111052"/>
            <a:ext cx="8071171" cy="486053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34">
              <a:buNone/>
            </a:pPr>
            <a:r>
              <a:rPr lang="pt-BR" sz="4100" b="1" dirty="0">
                <a:solidFill>
                  <a:srgbClr val="69ADE7"/>
                </a:solidFill>
                <a:latin typeface="Calibri"/>
              </a:rPr>
              <a:t>Google – projeto Aristótele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7ED93A5-7A43-C3DB-4D57-4BBBA08E666A}"/>
              </a:ext>
            </a:extLst>
          </p:cNvPr>
          <p:cNvSpPr txBox="1"/>
          <p:nvPr/>
        </p:nvSpPr>
        <p:spPr>
          <a:xfrm>
            <a:off x="946098" y="2216776"/>
            <a:ext cx="10506932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>
              <a:buClr>
                <a:srgbClr val="69ADE7"/>
              </a:buClr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r que algumas equipes prosperam e outras falhas ?</a:t>
            </a:r>
          </a:p>
          <a:p>
            <a:pPr marL="457200" indent="-457200" algn="just" defTabSz="685834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31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 algn="just" defTabSz="685834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nicialmente investigaram as possíveis correlações quanto a formação acadêmica, hobbies , amigos , traços de personalidade , e mais , em sua análise de um conjunto de 180 equipes em toda a empresa. Nada foi descoberto;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807E7D81-43B3-0280-1084-8DED076362B7}"/>
              </a:ext>
            </a:extLst>
          </p:cNvPr>
          <p:cNvSpPr txBox="1"/>
          <p:nvPr/>
        </p:nvSpPr>
        <p:spPr>
          <a:xfrm>
            <a:off x="931745" y="5717234"/>
            <a:ext cx="10506932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 defTabSz="685834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m leituras descobriram o conceito de segurança psicológica e isso fez sentido</a:t>
            </a:r>
            <a:r>
              <a:rPr lang="pt-BR" sz="225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9DCAE93D-0F1F-F361-92D5-A153175E3085}"/>
              </a:ext>
            </a:extLst>
          </p:cNvPr>
          <p:cNvSpPr txBox="1"/>
          <p:nvPr/>
        </p:nvSpPr>
        <p:spPr>
          <a:xfrm>
            <a:off x="931745" y="7083401"/>
            <a:ext cx="10506932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 defTabSz="685834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scobriram que os profissionais extremamente inteligentes e de alta capacidade precisavam de um ambiente de trabalho seguro psicologicamente para contribuir com as habilidades que tinham a oferecer;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67CA52A7-A934-3E1F-5F38-9BF26FFB560D}"/>
              </a:ext>
            </a:extLst>
          </p:cNvPr>
          <p:cNvSpPr/>
          <p:nvPr/>
        </p:nvSpPr>
        <p:spPr>
          <a:xfrm>
            <a:off x="8298160" y="9391972"/>
            <a:ext cx="472725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organização sem medo”, Amy </a:t>
            </a:r>
            <a:r>
              <a:rPr lang="pt-BR" sz="2000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ondson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754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B723F118-69F5-3D7A-0D82-C62E770FF52C}"/>
              </a:ext>
            </a:extLst>
          </p:cNvPr>
          <p:cNvSpPr txBox="1"/>
          <p:nvPr/>
        </p:nvSpPr>
        <p:spPr>
          <a:xfrm>
            <a:off x="305273" y="6727384"/>
            <a:ext cx="34823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sz="2400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Podemos contar com os outros para fazer um trabalho de alta qualidade em tempo? É a confiança que os outros da equipe entregarão os resultados;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6F73CBF-BFAA-F910-E64B-F28FB0F49C25}"/>
              </a:ext>
            </a:extLst>
          </p:cNvPr>
          <p:cNvSpPr txBox="1"/>
          <p:nvPr/>
        </p:nvSpPr>
        <p:spPr>
          <a:xfrm>
            <a:off x="9266580" y="8308585"/>
            <a:ext cx="244943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sz="2400" i="1" dirty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rtal Exame, 2020</a:t>
            </a:r>
            <a:r>
              <a:rPr lang="pt-BR" sz="2400" i="1" dirty="0">
                <a:solidFill>
                  <a:srgbClr val="0F1923"/>
                </a:solidFill>
                <a:latin typeface="+mn-lt"/>
              </a:rPr>
              <a:t>.</a:t>
            </a:r>
            <a:endParaRPr lang="pt-BR" sz="2400" i="1" dirty="0">
              <a:latin typeface="+mn-lt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1DC3C9D-6AD7-17C3-4F56-116CD11ACD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50" r="-66"/>
          <a:stretch/>
        </p:blipFill>
        <p:spPr bwMode="auto">
          <a:xfrm>
            <a:off x="4091987" y="3798406"/>
            <a:ext cx="4685191" cy="4435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17ED93A5-7A43-C3DB-4D57-4BBBA08E666A}"/>
              </a:ext>
            </a:extLst>
          </p:cNvPr>
          <p:cNvSpPr txBox="1"/>
          <p:nvPr/>
        </p:nvSpPr>
        <p:spPr>
          <a:xfrm>
            <a:off x="288086" y="1930837"/>
            <a:ext cx="12511862" cy="569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/>
            <a:r>
              <a:rPr lang="pt-BR" sz="3100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Cinco principais dinâmicas que definem o sucesso de uma boa equipe: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17B85FA-0BD9-8B37-AF5C-72538CF5F5AC}"/>
              </a:ext>
            </a:extLst>
          </p:cNvPr>
          <p:cNvSpPr txBox="1"/>
          <p:nvPr/>
        </p:nvSpPr>
        <p:spPr>
          <a:xfrm>
            <a:off x="4238431" y="8481710"/>
            <a:ext cx="572163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magem prof. Carla Furtado – Instituto </a:t>
            </a:r>
            <a:r>
              <a:rPr lang="pt-BR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eliciência</a:t>
            </a:r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6CEE69DE-DE5B-EC6E-EE08-CDA0DA13F6D4}"/>
              </a:ext>
            </a:extLst>
          </p:cNvPr>
          <p:cNvSpPr txBox="1"/>
          <p:nvPr/>
        </p:nvSpPr>
        <p:spPr>
          <a:xfrm>
            <a:off x="8853933" y="7190459"/>
            <a:ext cx="394601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sz="2400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Podemos assumir riscos sem se sentir inseguro ou envergonhado?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A81195C-A024-B4A9-50BE-3E5D116F829F}"/>
              </a:ext>
            </a:extLst>
          </p:cNvPr>
          <p:cNvSpPr txBox="1"/>
          <p:nvPr/>
        </p:nvSpPr>
        <p:spPr>
          <a:xfrm>
            <a:off x="8841502" y="5543622"/>
            <a:ext cx="421551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sz="2400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São claros os objetivos, funções e planos. Boa comunicação sobre o andamento das ações e projetos;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56431E1-CD04-9005-1EB4-4D73F62C25BD}"/>
              </a:ext>
            </a:extLst>
          </p:cNvPr>
          <p:cNvSpPr txBox="1"/>
          <p:nvPr/>
        </p:nvSpPr>
        <p:spPr>
          <a:xfrm>
            <a:off x="8841502" y="3499320"/>
            <a:ext cx="395844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sz="2400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Será que acreditamos no trabalho que estamos fazendo? Quando o time acredita que o trabalho cria e impacta a sociedade;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8E3C797F-4976-F34F-91B3-A4621FE1554E}"/>
              </a:ext>
            </a:extLst>
          </p:cNvPr>
          <p:cNvSpPr txBox="1"/>
          <p:nvPr/>
        </p:nvSpPr>
        <p:spPr>
          <a:xfrm>
            <a:off x="305273" y="3630341"/>
            <a:ext cx="3579846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34">
              <a:buClr>
                <a:schemeClr val="tx2">
                  <a:lumMod val="40000"/>
                  <a:lumOff val="60000"/>
                </a:schemeClr>
              </a:buClr>
            </a:pPr>
            <a:r>
              <a:rPr lang="pt-BR" sz="2400" dirty="0"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Será que estamos trabalhando em algo que é pessoalmente importante para cada um de nós? Alinhamento dos valores da empresa e do colaborador.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ABA52A90-A253-1B5D-115F-BEA93D28F065}"/>
              </a:ext>
            </a:extLst>
          </p:cNvPr>
          <p:cNvSpPr txBox="1">
            <a:spLocks/>
          </p:cNvSpPr>
          <p:nvPr/>
        </p:nvSpPr>
        <p:spPr>
          <a:xfrm>
            <a:off x="202845" y="754428"/>
            <a:ext cx="8071171" cy="486053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34">
              <a:buNone/>
            </a:pPr>
            <a:r>
              <a:rPr lang="pt-BR" sz="4100" b="1" dirty="0">
                <a:solidFill>
                  <a:srgbClr val="69ADE7"/>
                </a:solidFill>
                <a:latin typeface="Calibri"/>
              </a:rPr>
              <a:t>Google – projeto Aristóteles</a:t>
            </a:r>
          </a:p>
        </p:txBody>
      </p:sp>
    </p:spTree>
    <p:extLst>
      <p:ext uri="{BB962C8B-B14F-4D97-AF65-F5344CB8AC3E}">
        <p14:creationId xmlns:p14="http://schemas.microsoft.com/office/powerpoint/2010/main" val="3912562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9" grpId="0"/>
      <p:bldP spid="10" grpId="0"/>
      <p:bldP spid="11" grpId="0"/>
    </p:bld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2019098"/>
            <a:ext cx="10287000" cy="8286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4266558-EA04-49F2-80FA-12E1B2BA8395}"/>
              </a:ext>
            </a:extLst>
          </p:cNvPr>
          <p:cNvSpPr txBox="1"/>
          <p:nvPr/>
        </p:nvSpPr>
        <p:spPr>
          <a:xfrm>
            <a:off x="664437" y="907522"/>
            <a:ext cx="10430221" cy="90011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/>
          <a:p>
            <a:r>
              <a:rPr lang="pt-BR" sz="4000" b="1" dirty="0">
                <a:solidFill>
                  <a:srgbClr val="69ADE7"/>
                </a:solidFill>
                <a:latin typeface="+mj-lt"/>
              </a:rPr>
              <a:t>Desenvolver a visão cer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12" y="2027962"/>
            <a:ext cx="8556055" cy="6417041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23636CE0-0817-91C9-4BE0-B09B1D2D72C0}"/>
              </a:ext>
            </a:extLst>
          </p:cNvPr>
          <p:cNvSpPr/>
          <p:nvPr/>
        </p:nvSpPr>
        <p:spPr>
          <a:xfrm>
            <a:off x="9827568" y="9819576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26290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7271036"/>
            <a:ext cx="10287000" cy="82862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FF97110-4007-4D18-B797-262687C67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272" y="411821"/>
            <a:ext cx="9459218" cy="837941"/>
          </a:xfrm>
        </p:spPr>
        <p:txBody>
          <a:bodyPr anchor="ctr">
            <a:normAutofit/>
          </a:bodyPr>
          <a:lstStyle/>
          <a:p>
            <a:pPr algn="ctr"/>
            <a:r>
              <a:rPr lang="pt-BR" sz="4000" b="1" dirty="0">
                <a:solidFill>
                  <a:srgbClr val="69ADE7"/>
                </a:solidFill>
                <a:latin typeface="+mn-lt"/>
              </a:rPr>
              <a:t>Comunicação</a:t>
            </a:r>
            <a:r>
              <a:rPr lang="en-US" sz="4000" b="1" dirty="0">
                <a:solidFill>
                  <a:srgbClr val="69ADE7"/>
                </a:solidFill>
                <a:latin typeface="+mn-lt"/>
              </a:rPr>
              <a:t>:</a:t>
            </a:r>
            <a:r>
              <a:rPr lang="pt-BR" sz="4000" b="1" dirty="0">
                <a:solidFill>
                  <a:srgbClr val="69ADE7"/>
                </a:solidFill>
                <a:latin typeface="+mn-lt"/>
              </a:rPr>
              <a:t> inspirar para a mudança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714500" y="7183106"/>
            <a:ext cx="10287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714500" y="8187584"/>
            <a:ext cx="10287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344" y="1585465"/>
            <a:ext cx="9514812" cy="6343208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8039180-208F-074C-5353-8009CBE21010}"/>
              </a:ext>
            </a:extLst>
          </p:cNvPr>
          <p:cNvSpPr txBox="1"/>
          <p:nvPr/>
        </p:nvSpPr>
        <p:spPr>
          <a:xfrm>
            <a:off x="979048" y="8297524"/>
            <a:ext cx="9263328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8775" indent="-358775" algn="just">
              <a:spcBef>
                <a:spcPts val="1200"/>
              </a:spcBef>
              <a:buClr>
                <a:srgbClr val="69ADE7"/>
              </a:buClr>
              <a:buSzPct val="130000"/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</a:rPr>
              <a:t>Uso de cada veículo possível para comunicar constantemente a nova visão e </a:t>
            </a:r>
            <a:br>
              <a:rPr lang="pt-BR" sz="3100" dirty="0">
                <a:latin typeface="+mn-lt"/>
              </a:rPr>
            </a:br>
            <a:r>
              <a:rPr lang="pt-BR" sz="3100" dirty="0">
                <a:latin typeface="+mn-lt"/>
              </a:rPr>
              <a:t>as estratégias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B0AD7089-1417-5B10-3EF6-DC064C23513E}"/>
              </a:ext>
            </a:extLst>
          </p:cNvPr>
          <p:cNvSpPr/>
          <p:nvPr/>
        </p:nvSpPr>
        <p:spPr>
          <a:xfrm>
            <a:off x="9835615" y="9730902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742847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2"/>
          <p:cNvSpPr txBox="1">
            <a:spLocks noChangeArrowheads="1"/>
          </p:cNvSpPr>
          <p:nvPr/>
        </p:nvSpPr>
        <p:spPr bwMode="auto">
          <a:xfrm>
            <a:off x="953344" y="953761"/>
            <a:ext cx="6061472" cy="620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4000" b="1" dirty="0">
                <a:solidFill>
                  <a:srgbClr val="69ADE7"/>
                </a:solidFill>
                <a:latin typeface="+mn-lt"/>
                <a:ea typeface="+mj-ea"/>
                <a:cs typeface="+mj-cs"/>
              </a:rPr>
              <a:t>Comunicação</a:t>
            </a:r>
          </a:p>
        </p:txBody>
      </p:sp>
      <p:sp>
        <p:nvSpPr>
          <p:cNvPr id="11" name="Arco 11"/>
          <p:cNvSpPr>
            <a:spLocks/>
          </p:cNvSpPr>
          <p:nvPr/>
        </p:nvSpPr>
        <p:spPr bwMode="auto">
          <a:xfrm rot="18996297">
            <a:off x="4038201" y="5850038"/>
            <a:ext cx="2852214" cy="2800995"/>
          </a:xfrm>
          <a:custGeom>
            <a:avLst/>
            <a:gdLst>
              <a:gd name="T0" fmla="*/ 1722437 w 3444875"/>
              <a:gd name="T1" fmla="*/ 0 h 3284114"/>
              <a:gd name="T2" fmla="*/ 3444875 w 3444875"/>
              <a:gd name="T3" fmla="*/ 1646590 h 3284114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3444875" h="3284114" stroke="0">
                <a:moveTo>
                  <a:pt x="1722437" y="0"/>
                </a:moveTo>
                <a:cubicBezTo>
                  <a:pt x="2673713" y="0"/>
                  <a:pt x="3444875" y="735174"/>
                  <a:pt x="3444875" y="1642057"/>
                </a:cubicBezTo>
                <a:lnTo>
                  <a:pt x="1722438" y="1642057"/>
                </a:lnTo>
                <a:cubicBezTo>
                  <a:pt x="1722438" y="1094705"/>
                  <a:pt x="1722437" y="547352"/>
                  <a:pt x="1722437" y="0"/>
                </a:cubicBezTo>
                <a:close/>
              </a:path>
              <a:path w="3444875" h="3284114" fill="none">
                <a:moveTo>
                  <a:pt x="1722437" y="0"/>
                </a:moveTo>
                <a:cubicBezTo>
                  <a:pt x="2673713" y="0"/>
                  <a:pt x="3444875" y="735174"/>
                  <a:pt x="3444875" y="1642057"/>
                </a:cubicBezTo>
              </a:path>
            </a:pathLst>
          </a:custGeom>
          <a:noFill/>
          <a:ln w="25400" cap="flat" cmpd="sng">
            <a:solidFill>
              <a:srgbClr val="F6B62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endParaRPr lang="pt-BR"/>
          </a:p>
        </p:txBody>
      </p:sp>
      <p:sp>
        <p:nvSpPr>
          <p:cNvPr id="12" name="CaixaDeTexto 6"/>
          <p:cNvSpPr txBox="1">
            <a:spLocks noChangeArrowheads="1"/>
          </p:cNvSpPr>
          <p:nvPr/>
        </p:nvSpPr>
        <p:spPr bwMode="auto">
          <a:xfrm>
            <a:off x="4391113" y="5342144"/>
            <a:ext cx="2146389" cy="40395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BR" altLang="pt-BR" sz="2025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sagem</a:t>
            </a:r>
          </a:p>
        </p:txBody>
      </p:sp>
      <p:sp>
        <p:nvSpPr>
          <p:cNvPr id="14" name="CaixaDeTexto 9"/>
          <p:cNvSpPr txBox="1">
            <a:spLocks noChangeArrowheads="1"/>
          </p:cNvSpPr>
          <p:nvPr/>
        </p:nvSpPr>
        <p:spPr bwMode="auto">
          <a:xfrm>
            <a:off x="4723373" y="8197615"/>
            <a:ext cx="1626185" cy="40395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BR" altLang="pt-BR" sz="2025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eedback</a:t>
            </a:r>
          </a:p>
        </p:txBody>
      </p:sp>
      <p:sp>
        <p:nvSpPr>
          <p:cNvPr id="15" name="Elipse 14"/>
          <p:cNvSpPr>
            <a:spLocks noChangeArrowheads="1"/>
          </p:cNvSpPr>
          <p:nvPr/>
        </p:nvSpPr>
        <p:spPr bwMode="auto">
          <a:xfrm>
            <a:off x="2371495" y="6275517"/>
            <a:ext cx="2048300" cy="1233699"/>
          </a:xfrm>
          <a:prstGeom prst="ellipse">
            <a:avLst/>
          </a:prstGeom>
          <a:solidFill>
            <a:srgbClr val="F6B62C"/>
          </a:solidFill>
          <a:ln>
            <a:noFill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25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ISSOR</a:t>
            </a:r>
          </a:p>
        </p:txBody>
      </p:sp>
      <p:sp>
        <p:nvSpPr>
          <p:cNvPr id="16" name="Elipse 15"/>
          <p:cNvSpPr>
            <a:spLocks noChangeArrowheads="1"/>
          </p:cNvSpPr>
          <p:nvPr/>
        </p:nvSpPr>
        <p:spPr bwMode="auto">
          <a:xfrm>
            <a:off x="6551138" y="6223198"/>
            <a:ext cx="2467101" cy="1219650"/>
          </a:xfrm>
          <a:prstGeom prst="ellipse">
            <a:avLst/>
          </a:prstGeom>
          <a:solidFill>
            <a:srgbClr val="F6B62C"/>
          </a:solidFill>
          <a:ln>
            <a:noFill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25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EPTOR</a:t>
            </a:r>
          </a:p>
        </p:txBody>
      </p:sp>
      <p:sp>
        <p:nvSpPr>
          <p:cNvPr id="17" name="Retângulo 16"/>
          <p:cNvSpPr/>
          <p:nvPr/>
        </p:nvSpPr>
        <p:spPr bwMode="auto">
          <a:xfrm>
            <a:off x="5080159" y="6636841"/>
            <a:ext cx="912614" cy="2348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25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nal</a:t>
            </a:r>
          </a:p>
        </p:txBody>
      </p:sp>
      <p:cxnSp>
        <p:nvCxnSpPr>
          <p:cNvPr id="18" name="Conector reto 17"/>
          <p:cNvCxnSpPr/>
          <p:nvPr/>
        </p:nvCxnSpPr>
        <p:spPr bwMode="auto">
          <a:xfrm>
            <a:off x="5009141" y="6295628"/>
            <a:ext cx="912614" cy="0"/>
          </a:xfrm>
          <a:prstGeom prst="line">
            <a:avLst/>
          </a:prstGeom>
          <a:ln w="19050">
            <a:solidFill>
              <a:srgbClr val="E338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 bwMode="auto">
          <a:xfrm>
            <a:off x="5080159" y="7154912"/>
            <a:ext cx="912614" cy="0"/>
          </a:xfrm>
          <a:prstGeom prst="line">
            <a:avLst/>
          </a:prstGeom>
          <a:ln w="19050">
            <a:solidFill>
              <a:srgbClr val="E338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rco 11"/>
          <p:cNvSpPr>
            <a:spLocks/>
          </p:cNvSpPr>
          <p:nvPr/>
        </p:nvSpPr>
        <p:spPr bwMode="auto">
          <a:xfrm rot="8201172">
            <a:off x="4111663" y="4666415"/>
            <a:ext cx="2904209" cy="2662589"/>
          </a:xfrm>
          <a:custGeom>
            <a:avLst/>
            <a:gdLst>
              <a:gd name="T0" fmla="*/ 1862297 w 3444875"/>
              <a:gd name="T1" fmla="*/ 0 h 3284114"/>
              <a:gd name="T2" fmla="*/ 3724594 w 3444875"/>
              <a:gd name="T3" fmla="*/ 1782530 h 3284114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3444875" h="3284114" stroke="0">
                <a:moveTo>
                  <a:pt x="1722437" y="0"/>
                </a:moveTo>
                <a:cubicBezTo>
                  <a:pt x="2673713" y="0"/>
                  <a:pt x="3444875" y="735174"/>
                  <a:pt x="3444875" y="1642057"/>
                </a:cubicBezTo>
                <a:lnTo>
                  <a:pt x="1722438" y="1642057"/>
                </a:lnTo>
                <a:cubicBezTo>
                  <a:pt x="1722438" y="1094705"/>
                  <a:pt x="1722437" y="547352"/>
                  <a:pt x="1722437" y="0"/>
                </a:cubicBezTo>
                <a:close/>
              </a:path>
              <a:path w="3444875" h="3284114" fill="none">
                <a:moveTo>
                  <a:pt x="1722437" y="0"/>
                </a:moveTo>
                <a:cubicBezTo>
                  <a:pt x="2673713" y="0"/>
                  <a:pt x="3444875" y="735174"/>
                  <a:pt x="3444875" y="1642057"/>
                </a:cubicBezTo>
              </a:path>
            </a:pathLst>
          </a:custGeom>
          <a:noFill/>
          <a:ln w="25400" cap="flat" cmpd="sng">
            <a:solidFill>
              <a:srgbClr val="F6B62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endParaRPr lang="pt-BR"/>
          </a:p>
        </p:txBody>
      </p:sp>
      <p:sp>
        <p:nvSpPr>
          <p:cNvPr id="21" name="Retângulo 29"/>
          <p:cNvSpPr>
            <a:spLocks noChangeArrowheads="1"/>
          </p:cNvSpPr>
          <p:nvPr/>
        </p:nvSpPr>
        <p:spPr bwMode="auto">
          <a:xfrm>
            <a:off x="720784" y="2184781"/>
            <a:ext cx="11633435" cy="288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a transferência  de informação e compreensão de um indivíduo para outro.  Na realidade, ela é um instrumento de interação social por meio da transmissão de ideias, fatos , pensamentos  sentimentos e valores.</a:t>
            </a:r>
          </a:p>
        </p:txBody>
      </p:sp>
    </p:spTree>
    <p:extLst>
      <p:ext uri="{BB962C8B-B14F-4D97-AF65-F5344CB8AC3E}">
        <p14:creationId xmlns:p14="http://schemas.microsoft.com/office/powerpoint/2010/main" val="1740241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  <p:bldP spid="16" grpId="0" animBg="1"/>
      <p:bldP spid="17" grpId="0"/>
      <p:bldP spid="20" grpId="0" animBg="1"/>
    </p:bld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2"/>
          <p:cNvSpPr txBox="1">
            <a:spLocks noChangeArrowheads="1"/>
          </p:cNvSpPr>
          <p:nvPr/>
        </p:nvSpPr>
        <p:spPr bwMode="auto">
          <a:xfrm>
            <a:off x="962794" y="1420010"/>
            <a:ext cx="6061472" cy="633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4100" b="1" dirty="0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ipos de comunicação</a:t>
            </a:r>
          </a:p>
        </p:txBody>
      </p:sp>
      <p:sp>
        <p:nvSpPr>
          <p:cNvPr id="8" name="Shape 81"/>
          <p:cNvSpPr txBox="1">
            <a:spLocks noChangeArrowheads="1"/>
          </p:cNvSpPr>
          <p:nvPr/>
        </p:nvSpPr>
        <p:spPr bwMode="auto">
          <a:xfrm>
            <a:off x="89248" y="3519012"/>
            <a:ext cx="3136106" cy="1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75000"/>
              </a:lnSpc>
              <a:spcAft>
                <a:spcPts val="450"/>
              </a:spcAft>
              <a:buClr>
                <a:srgbClr val="FFFFFF"/>
              </a:buClr>
              <a:buSzPct val="25000"/>
            </a:pPr>
            <a:endParaRPr lang="en-US" altLang="pt-BR" dirty="0"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21" name="Grupo 2"/>
          <p:cNvGrpSpPr>
            <a:grpSpLocks/>
          </p:cNvGrpSpPr>
          <p:nvPr/>
        </p:nvGrpSpPr>
        <p:grpSpPr bwMode="auto">
          <a:xfrm>
            <a:off x="1229109" y="2839244"/>
            <a:ext cx="3474926" cy="590436"/>
            <a:chOff x="578378" y="1510393"/>
            <a:chExt cx="6177918" cy="1049664"/>
          </a:xfrm>
        </p:grpSpPr>
        <p:sp>
          <p:nvSpPr>
            <p:cNvPr id="22" name="Retângulo de cantos arredondados 32"/>
            <p:cNvSpPr>
              <a:spLocks noChangeArrowheads="1"/>
            </p:cNvSpPr>
            <p:nvPr/>
          </p:nvSpPr>
          <p:spPr bwMode="auto">
            <a:xfrm>
              <a:off x="1679573" y="1510393"/>
              <a:ext cx="2570277" cy="463782"/>
            </a:xfrm>
            <a:prstGeom prst="roundRect">
              <a:avLst>
                <a:gd name="adj" fmla="val 27023"/>
              </a:avLst>
            </a:prstGeom>
            <a:solidFill>
              <a:srgbClr val="FFFFFF">
                <a:alpha val="6784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ts val="1238"/>
                </a:lnSpc>
              </a:pPr>
              <a:endParaRPr lang="pt-BR" altLang="pt-BR" sz="3100">
                <a:latin typeface="+mn-lt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3" name="Retângulo 1"/>
            <p:cNvSpPr>
              <a:spLocks noChangeArrowheads="1"/>
            </p:cNvSpPr>
            <p:nvPr/>
          </p:nvSpPr>
          <p:spPr bwMode="auto">
            <a:xfrm>
              <a:off x="578378" y="1547813"/>
              <a:ext cx="6177918" cy="1012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pt-BR" altLang="pt-BR" sz="31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Comunicação Verbal</a:t>
              </a:r>
            </a:p>
          </p:txBody>
        </p:sp>
      </p:grpSp>
      <p:grpSp>
        <p:nvGrpSpPr>
          <p:cNvPr id="24" name="Grupo 5"/>
          <p:cNvGrpSpPr>
            <a:grpSpLocks/>
          </p:cNvGrpSpPr>
          <p:nvPr/>
        </p:nvGrpSpPr>
        <p:grpSpPr bwMode="auto">
          <a:xfrm>
            <a:off x="1275976" y="3747849"/>
            <a:ext cx="2590774" cy="1697068"/>
            <a:chOff x="668098" y="2823265"/>
            <a:chExt cx="4605820" cy="3017010"/>
          </a:xfrm>
        </p:grpSpPr>
        <p:sp>
          <p:nvSpPr>
            <p:cNvPr id="25" name="Retângulo de cantos arredondados 32"/>
            <p:cNvSpPr>
              <a:spLocks noChangeArrowheads="1"/>
            </p:cNvSpPr>
            <p:nvPr/>
          </p:nvSpPr>
          <p:spPr bwMode="auto">
            <a:xfrm>
              <a:off x="1819275" y="2913059"/>
              <a:ext cx="2305051" cy="369899"/>
            </a:xfrm>
            <a:prstGeom prst="roundRect">
              <a:avLst>
                <a:gd name="adj" fmla="val 10620"/>
              </a:avLst>
            </a:prstGeom>
            <a:solidFill>
              <a:srgbClr val="FFFFFF">
                <a:alpha val="6784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ts val="1238"/>
                </a:lnSpc>
              </a:pPr>
              <a:endParaRPr lang="pt-BR" altLang="pt-BR">
                <a:latin typeface="+mn-lt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Retângulo 1"/>
            <p:cNvSpPr>
              <a:spLocks noChangeArrowheads="1"/>
            </p:cNvSpPr>
            <p:nvPr/>
          </p:nvSpPr>
          <p:spPr bwMode="auto">
            <a:xfrm>
              <a:off x="668098" y="2823265"/>
              <a:ext cx="4605820" cy="3017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pt-BR" altLang="pt-BR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É o que se diz: (7%)</a:t>
              </a:r>
            </a:p>
            <a:p>
              <a:pPr algn="ctr">
                <a:lnSpc>
                  <a:spcPct val="150000"/>
                </a:lnSpc>
              </a:pPr>
              <a:endParaRPr lang="pt-BR" altLang="pt-BR" dirty="0">
                <a:latin typeface="+mn-lt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pt-BR" altLang="pt-BR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A palavra</a:t>
              </a:r>
            </a:p>
          </p:txBody>
        </p:sp>
      </p:grpSp>
      <p:grpSp>
        <p:nvGrpSpPr>
          <p:cNvPr id="27" name="Grupo 3"/>
          <p:cNvGrpSpPr>
            <a:grpSpLocks/>
          </p:cNvGrpSpPr>
          <p:nvPr/>
        </p:nvGrpSpPr>
        <p:grpSpPr bwMode="auto">
          <a:xfrm>
            <a:off x="6060399" y="2840305"/>
            <a:ext cx="4253985" cy="586228"/>
            <a:chOff x="3183949" y="1575786"/>
            <a:chExt cx="7562158" cy="1042186"/>
          </a:xfrm>
        </p:grpSpPr>
        <p:sp>
          <p:nvSpPr>
            <p:cNvPr id="28" name="Retângulo de cantos arredondados 32"/>
            <p:cNvSpPr>
              <a:spLocks noChangeArrowheads="1"/>
            </p:cNvSpPr>
            <p:nvPr/>
          </p:nvSpPr>
          <p:spPr bwMode="auto">
            <a:xfrm>
              <a:off x="4552950" y="1575786"/>
              <a:ext cx="3111302" cy="459994"/>
            </a:xfrm>
            <a:prstGeom prst="roundRect">
              <a:avLst>
                <a:gd name="adj" fmla="val 25764"/>
              </a:avLst>
            </a:prstGeom>
            <a:solidFill>
              <a:srgbClr val="FFFFFF">
                <a:alpha val="6784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ts val="1238"/>
                </a:lnSpc>
              </a:pPr>
              <a:endParaRPr lang="pt-BR" altLang="pt-BR" sz="3100">
                <a:latin typeface="+mn-lt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Retângulo 1"/>
            <p:cNvSpPr>
              <a:spLocks noChangeArrowheads="1"/>
            </p:cNvSpPr>
            <p:nvPr/>
          </p:nvSpPr>
          <p:spPr bwMode="auto">
            <a:xfrm>
              <a:off x="3183949" y="1605726"/>
              <a:ext cx="7562158" cy="10122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pt-BR" altLang="pt-BR" sz="31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Comunicação Não-Verbal</a:t>
              </a:r>
            </a:p>
          </p:txBody>
        </p:sp>
      </p:grpSp>
      <p:grpSp>
        <p:nvGrpSpPr>
          <p:cNvPr id="30" name="Grupo 4"/>
          <p:cNvGrpSpPr>
            <a:grpSpLocks/>
          </p:cNvGrpSpPr>
          <p:nvPr/>
        </p:nvGrpSpPr>
        <p:grpSpPr bwMode="auto">
          <a:xfrm>
            <a:off x="6381773" y="3798359"/>
            <a:ext cx="2964915" cy="1900234"/>
            <a:chOff x="3585329" y="2913060"/>
            <a:chExt cx="5270960" cy="3378195"/>
          </a:xfrm>
        </p:grpSpPr>
        <p:sp>
          <p:nvSpPr>
            <p:cNvPr id="31" name="Retângulo de cantos arredondados 32"/>
            <p:cNvSpPr>
              <a:spLocks noChangeArrowheads="1"/>
            </p:cNvSpPr>
            <p:nvPr/>
          </p:nvSpPr>
          <p:spPr bwMode="auto">
            <a:xfrm>
              <a:off x="4552950" y="2913060"/>
              <a:ext cx="2771774" cy="369899"/>
            </a:xfrm>
            <a:prstGeom prst="roundRect">
              <a:avLst>
                <a:gd name="adj" fmla="val 10620"/>
              </a:avLst>
            </a:prstGeom>
            <a:solidFill>
              <a:srgbClr val="FFFFFF">
                <a:alpha val="6784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ts val="1238"/>
                </a:lnSpc>
              </a:pPr>
              <a:endParaRPr lang="pt-BR" altLang="pt-BR">
                <a:latin typeface="+mn-lt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32" name="Grupo 1"/>
            <p:cNvGrpSpPr>
              <a:grpSpLocks/>
            </p:cNvGrpSpPr>
            <p:nvPr/>
          </p:nvGrpSpPr>
          <p:grpSpPr bwMode="auto">
            <a:xfrm>
              <a:off x="3585329" y="2995782"/>
              <a:ext cx="5270960" cy="3295473"/>
              <a:chOff x="3550405" y="2690189"/>
              <a:chExt cx="5270960" cy="3295473"/>
            </a:xfrm>
          </p:grpSpPr>
          <p:sp>
            <p:nvSpPr>
              <p:cNvPr id="33" name="Retângulo 1"/>
              <p:cNvSpPr>
                <a:spLocks noChangeArrowheads="1"/>
              </p:cNvSpPr>
              <p:nvPr/>
            </p:nvSpPr>
            <p:spPr bwMode="auto">
              <a:xfrm>
                <a:off x="3550405" y="2690189"/>
                <a:ext cx="5270960" cy="820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pt-BR" altLang="pt-BR" dirty="0">
                    <a:latin typeface="+mn-lt"/>
                    <a:ea typeface="Tahoma" panose="020B0604030504040204" pitchFamily="34" charset="0"/>
                    <a:cs typeface="Tahoma" panose="020B0604030504040204" pitchFamily="34" charset="0"/>
                  </a:rPr>
                  <a:t>É o como se diz: (93%)</a:t>
                </a:r>
              </a:p>
            </p:txBody>
          </p:sp>
          <p:sp>
            <p:nvSpPr>
              <p:cNvPr id="34" name="Retângulo 1"/>
              <p:cNvSpPr>
                <a:spLocks noChangeArrowheads="1"/>
              </p:cNvSpPr>
              <p:nvPr/>
            </p:nvSpPr>
            <p:spPr bwMode="auto">
              <a:xfrm>
                <a:off x="4382985" y="3851743"/>
                <a:ext cx="4433124" cy="21339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pt-BR" altLang="pt-BR" dirty="0">
                    <a:latin typeface="+mn-lt"/>
                    <a:ea typeface="Tahoma" panose="020B0604030504040204" pitchFamily="34" charset="0"/>
                    <a:cs typeface="Tahoma" panose="020B0604030504040204" pitchFamily="34" charset="0"/>
                  </a:rPr>
                  <a:t>O tom de voz</a:t>
                </a:r>
              </a:p>
              <a:p>
                <a:pPr algn="ctr"/>
                <a:r>
                  <a:rPr lang="pt-BR" altLang="pt-BR" dirty="0">
                    <a:latin typeface="+mn-lt"/>
                    <a:ea typeface="Tahoma" panose="020B0604030504040204" pitchFamily="34" charset="0"/>
                    <a:cs typeface="Tahoma" panose="020B0604030504040204" pitchFamily="34" charset="0"/>
                  </a:rPr>
                  <a:t>A expressão facial</a:t>
                </a:r>
              </a:p>
              <a:p>
                <a:pPr algn="ctr"/>
                <a:r>
                  <a:rPr lang="pt-BR" altLang="pt-BR" dirty="0">
                    <a:latin typeface="+mn-lt"/>
                    <a:ea typeface="Tahoma" panose="020B0604030504040204" pitchFamily="34" charset="0"/>
                    <a:cs typeface="Tahoma" panose="020B0604030504040204" pitchFamily="34" charset="0"/>
                  </a:rPr>
                  <a:t>A postura corporal</a:t>
                </a:r>
              </a:p>
            </p:txBody>
          </p:sp>
        </p:grpSp>
      </p:grpSp>
      <p:sp>
        <p:nvSpPr>
          <p:cNvPr id="35" name="Retângulo de cantos arredondados 32"/>
          <p:cNvSpPr>
            <a:spLocks noChangeArrowheads="1"/>
          </p:cNvSpPr>
          <p:nvPr/>
        </p:nvSpPr>
        <p:spPr bwMode="auto">
          <a:xfrm>
            <a:off x="8586192" y="7035488"/>
            <a:ext cx="3231523" cy="364331"/>
          </a:xfrm>
          <a:prstGeom prst="roundRect">
            <a:avLst>
              <a:gd name="adj" fmla="val 27023"/>
            </a:avLst>
          </a:prstGeom>
          <a:solidFill>
            <a:srgbClr val="FFFFFF">
              <a:alpha val="6784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rof. Albert </a:t>
            </a:r>
            <a:r>
              <a:rPr lang="pt-BR" altLang="pt-BR" sz="2000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ehrabian</a:t>
            </a:r>
            <a:r>
              <a:rPr lang="pt-BR" alt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37" name="Retângulo 29"/>
          <p:cNvSpPr>
            <a:spLocks noChangeArrowheads="1"/>
          </p:cNvSpPr>
          <p:nvPr/>
        </p:nvSpPr>
        <p:spPr bwMode="auto">
          <a:xfrm>
            <a:off x="897089" y="5299089"/>
            <a:ext cx="4037491" cy="1697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pt-BR" altLang="pt-BR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efere-se a toda forma de expressão, falada ou escrita. O principal elemento essencial é:</a:t>
            </a:r>
          </a:p>
        </p:txBody>
      </p:sp>
      <p:sp>
        <p:nvSpPr>
          <p:cNvPr id="40" name="Retângulo 29"/>
          <p:cNvSpPr>
            <a:spLocks noChangeArrowheads="1"/>
          </p:cNvSpPr>
          <p:nvPr/>
        </p:nvSpPr>
        <p:spPr bwMode="auto">
          <a:xfrm>
            <a:off x="962794" y="7668522"/>
            <a:ext cx="11799862" cy="73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Suas atitudes falam tão alto que eu não consigo ouvir o que você diz.”</a:t>
            </a:r>
          </a:p>
        </p:txBody>
      </p:sp>
      <p:sp>
        <p:nvSpPr>
          <p:cNvPr id="41" name="Retângulo de cantos arredondados 32"/>
          <p:cNvSpPr>
            <a:spLocks noChangeArrowheads="1"/>
          </p:cNvSpPr>
          <p:nvPr/>
        </p:nvSpPr>
        <p:spPr bwMode="auto">
          <a:xfrm>
            <a:off x="9432553" y="8690620"/>
            <a:ext cx="3381622" cy="364331"/>
          </a:xfrm>
          <a:prstGeom prst="roundRect">
            <a:avLst>
              <a:gd name="adj" fmla="val 27023"/>
            </a:avLst>
          </a:prstGeom>
          <a:solidFill>
            <a:srgbClr val="FFFFFF">
              <a:alpha val="6784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alph Waldo Emerson </a:t>
            </a:r>
          </a:p>
        </p:txBody>
      </p:sp>
    </p:spTree>
    <p:extLst>
      <p:ext uri="{BB962C8B-B14F-4D97-AF65-F5344CB8AC3E}">
        <p14:creationId xmlns:p14="http://schemas.microsoft.com/office/powerpoint/2010/main" val="3566817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40" grpId="0"/>
      <p:bldP spid="41" grpId="0" animBg="1"/>
    </p:bld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2"/>
          <p:cNvSpPr txBox="1">
            <a:spLocks noChangeArrowheads="1"/>
          </p:cNvSpPr>
          <p:nvPr/>
        </p:nvSpPr>
        <p:spPr bwMode="auto">
          <a:xfrm>
            <a:off x="1457400" y="1407665"/>
            <a:ext cx="6061472" cy="633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4100" b="1" dirty="0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municação assertiva</a:t>
            </a:r>
          </a:p>
        </p:txBody>
      </p:sp>
      <p:sp>
        <p:nvSpPr>
          <p:cNvPr id="6" name="CaixaDeTexto 2"/>
          <p:cNvSpPr txBox="1">
            <a:spLocks noChangeArrowheads="1"/>
          </p:cNvSpPr>
          <p:nvPr/>
        </p:nvSpPr>
        <p:spPr bwMode="auto">
          <a:xfrm>
            <a:off x="1623953" y="2726203"/>
            <a:ext cx="10468094" cy="483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PT" altLang="pt-PT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xpressa-se com clareza;</a:t>
            </a:r>
          </a:p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PT" altLang="pt-PT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objetivo;</a:t>
            </a:r>
          </a:p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PT" altLang="pt-PT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aseia-se em fatos e dados;</a:t>
            </a:r>
          </a:p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PT" altLang="pt-PT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focado  na solução e não no problema;</a:t>
            </a:r>
          </a:p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PT" altLang="pt-PT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firme e autoconfiante;</a:t>
            </a:r>
          </a:p>
          <a:p>
            <a:pPr marL="321469" indent="-321469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PT" altLang="pt-PT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Usa uma linguagem positiva e não julgadora</a:t>
            </a:r>
            <a:r>
              <a:rPr lang="pt-PT" altLang="pt-PT" sz="22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321469" indent="-321469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pt-PT" altLang="pt-PT" sz="22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407311" y="8006467"/>
            <a:ext cx="496470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Vera Martins.</a:t>
            </a:r>
          </a:p>
        </p:txBody>
      </p:sp>
    </p:spTree>
    <p:extLst>
      <p:ext uri="{BB962C8B-B14F-4D97-AF65-F5344CB8AC3E}">
        <p14:creationId xmlns:p14="http://schemas.microsoft.com/office/powerpoint/2010/main" val="426563834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038CB10-1F5C-4D54-9DF7-12586DE5B0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90867" y="6429375"/>
            <a:ext cx="5955446" cy="22097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12C76146-7670-4893-AD68-20CED6EA4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26976" y="674324"/>
            <a:ext cx="5563846" cy="1828361"/>
          </a:xfrm>
        </p:spPr>
        <p:txBody>
          <a:bodyPr vert="horz" lIns="102870" tIns="51435" rIns="102870" bIns="51435" rtlCol="0" anchor="ctr">
            <a:normAutofit/>
          </a:bodyPr>
          <a:lstStyle/>
          <a:p>
            <a:pPr algn="r"/>
            <a:r>
              <a:rPr lang="en-US" sz="4000" b="1" i="1" dirty="0">
                <a:solidFill>
                  <a:srgbClr val="69ADE7"/>
                </a:solidFill>
                <a:latin typeface="+mn-lt"/>
              </a:rPr>
              <a:t>Empowerme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3ED6512-6858-4552-B699-9A97FE9A4E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71865" y="1647823"/>
            <a:ext cx="3658174" cy="69913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0B83409-61D2-4A9F-868E-066F8928DF1A}"/>
              </a:ext>
            </a:extLst>
          </p:cNvPr>
          <p:cNvSpPr txBox="1"/>
          <p:nvPr/>
        </p:nvSpPr>
        <p:spPr>
          <a:xfrm>
            <a:off x="8370168" y="2414044"/>
            <a:ext cx="4396025" cy="5458907"/>
          </a:xfrm>
          <a:prstGeom prst="rect">
            <a:avLst/>
          </a:prstGeom>
        </p:spPr>
        <p:txBody>
          <a:bodyPr vert="horz" lIns="102870" tIns="51435" rIns="102870" bIns="51435" rtlCol="0" anchor="ctr">
            <a:noAutofit/>
          </a:bodyPr>
          <a:lstStyle/>
          <a:p>
            <a:pPr marL="457200" indent="-457200">
              <a:spcBef>
                <a:spcPts val="2700"/>
              </a:spcBef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en-US" sz="3000" dirty="0" err="1">
                <a:latin typeface="Calibri" panose="020F0502020204030204" pitchFamily="34" charset="0"/>
              </a:rPr>
              <a:t>Eliminação</a:t>
            </a:r>
            <a:r>
              <a:rPr lang="en-US" sz="3000" dirty="0">
                <a:latin typeface="Calibri" panose="020F0502020204030204" pitchFamily="34" charset="0"/>
              </a:rPr>
              <a:t> de </a:t>
            </a:r>
            <a:r>
              <a:rPr lang="en-US" sz="3000" dirty="0" err="1">
                <a:latin typeface="Calibri" panose="020F0502020204030204" pitchFamily="34" charset="0"/>
              </a:rPr>
              <a:t>obstáculos</a:t>
            </a:r>
            <a:r>
              <a:rPr lang="en-US" sz="3000" dirty="0">
                <a:latin typeface="Calibri" panose="020F0502020204030204" pitchFamily="34" charset="0"/>
              </a:rPr>
              <a:t>;</a:t>
            </a:r>
          </a:p>
          <a:p>
            <a:pPr marL="457200" indent="-457200">
              <a:spcBef>
                <a:spcPts val="2700"/>
              </a:spcBef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en-US" sz="3000" dirty="0" err="1">
                <a:latin typeface="Calibri" panose="020F0502020204030204" pitchFamily="34" charset="0"/>
              </a:rPr>
              <a:t>Mudanças</a:t>
            </a:r>
            <a:r>
              <a:rPr lang="en-US" sz="3000" dirty="0">
                <a:latin typeface="Calibri" panose="020F0502020204030204" pitchFamily="34" charset="0"/>
              </a:rPr>
              <a:t> de </a:t>
            </a:r>
            <a:r>
              <a:rPr lang="en-US" sz="3000" dirty="0" err="1">
                <a:latin typeface="Calibri" panose="020F0502020204030204" pitchFamily="34" charset="0"/>
              </a:rPr>
              <a:t>sistemas</a:t>
            </a:r>
            <a:r>
              <a:rPr lang="en-US" sz="3000" dirty="0">
                <a:latin typeface="Calibri" panose="020F0502020204030204" pitchFamily="34" charset="0"/>
              </a:rPr>
              <a:t> </a:t>
            </a:r>
            <a:r>
              <a:rPr lang="en-US" sz="3000" dirty="0" err="1">
                <a:latin typeface="Calibri" panose="020F0502020204030204" pitchFamily="34" charset="0"/>
              </a:rPr>
              <a:t>ou</a:t>
            </a:r>
            <a:r>
              <a:rPr lang="en-US" sz="3000" dirty="0">
                <a:latin typeface="Calibri" panose="020F0502020204030204" pitchFamily="34" charset="0"/>
              </a:rPr>
              <a:t> </a:t>
            </a:r>
            <a:r>
              <a:rPr lang="en-US" sz="3000" dirty="0" err="1">
                <a:latin typeface="Calibri" panose="020F0502020204030204" pitchFamily="34" charset="0"/>
              </a:rPr>
              <a:t>estruturas</a:t>
            </a:r>
            <a:r>
              <a:rPr lang="en-US" sz="3000" dirty="0">
                <a:latin typeface="Calibri" panose="020F0502020204030204" pitchFamily="34" charset="0"/>
              </a:rPr>
              <a:t> que </a:t>
            </a:r>
            <a:r>
              <a:rPr lang="en-US" sz="3000" dirty="0" err="1">
                <a:latin typeface="Calibri" panose="020F0502020204030204" pitchFamily="34" charset="0"/>
              </a:rPr>
              <a:t>minem</a:t>
            </a:r>
            <a:r>
              <a:rPr lang="en-US" sz="3000" dirty="0">
                <a:latin typeface="Calibri" panose="020F0502020204030204" pitchFamily="34" charset="0"/>
              </a:rPr>
              <a:t> a </a:t>
            </a:r>
            <a:r>
              <a:rPr lang="en-US" sz="3000" dirty="0" err="1">
                <a:latin typeface="Calibri" panose="020F0502020204030204" pitchFamily="34" charset="0"/>
              </a:rPr>
              <a:t>visão</a:t>
            </a:r>
            <a:r>
              <a:rPr lang="en-US" sz="3000" dirty="0">
                <a:latin typeface="Calibri" panose="020F0502020204030204" pitchFamily="34" charset="0"/>
              </a:rPr>
              <a:t> das </a:t>
            </a:r>
            <a:r>
              <a:rPr lang="en-US" sz="3000" dirty="0" err="1">
                <a:latin typeface="Calibri" panose="020F0502020204030204" pitchFamily="34" charset="0"/>
              </a:rPr>
              <a:t>mudanças</a:t>
            </a:r>
            <a:r>
              <a:rPr lang="en-US" sz="3000" dirty="0">
                <a:latin typeface="Calibri" panose="020F0502020204030204" pitchFamily="34" charset="0"/>
              </a:rPr>
              <a:t>;</a:t>
            </a:r>
          </a:p>
          <a:p>
            <a:pPr marL="457200" indent="-457200">
              <a:spcBef>
                <a:spcPts val="2700"/>
              </a:spcBef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en-US" sz="3000" dirty="0" err="1">
                <a:latin typeface="Calibri" panose="020F0502020204030204" pitchFamily="34" charset="0"/>
              </a:rPr>
              <a:t>Encorajamento</a:t>
            </a:r>
            <a:r>
              <a:rPr lang="en-US" sz="3000" dirty="0">
                <a:latin typeface="Calibri" panose="020F0502020204030204" pitchFamily="34" charset="0"/>
              </a:rPr>
              <a:t> para </a:t>
            </a:r>
            <a:r>
              <a:rPr lang="en-US" sz="3000" dirty="0" err="1">
                <a:latin typeface="Calibri" panose="020F0502020204030204" pitchFamily="34" charset="0"/>
              </a:rPr>
              <a:t>correr</a:t>
            </a:r>
            <a:r>
              <a:rPr lang="en-US" sz="3000" dirty="0">
                <a:latin typeface="Calibri" panose="020F0502020204030204" pitchFamily="34" charset="0"/>
              </a:rPr>
              <a:t> </a:t>
            </a:r>
            <a:r>
              <a:rPr lang="en-US" sz="3000" dirty="0" err="1">
                <a:latin typeface="Calibri" panose="020F0502020204030204" pitchFamily="34" charset="0"/>
              </a:rPr>
              <a:t>riscos</a:t>
            </a:r>
            <a:r>
              <a:rPr lang="en-US" sz="3000" dirty="0">
                <a:latin typeface="Calibri" panose="020F0502020204030204" pitchFamily="34" charset="0"/>
              </a:rPr>
              <a:t> e </a:t>
            </a:r>
            <a:r>
              <a:rPr lang="en-US" sz="3000" dirty="0" err="1">
                <a:latin typeface="Calibri" panose="020F0502020204030204" pitchFamily="34" charset="0"/>
              </a:rPr>
              <a:t>usar</a:t>
            </a:r>
            <a:r>
              <a:rPr lang="en-US" sz="3000" dirty="0">
                <a:latin typeface="Calibri" panose="020F0502020204030204" pitchFamily="34" charset="0"/>
              </a:rPr>
              <a:t> </a:t>
            </a:r>
            <a:r>
              <a:rPr lang="en-US" sz="3000" dirty="0" err="1">
                <a:latin typeface="Calibri" panose="020F0502020204030204" pitchFamily="34" charset="0"/>
              </a:rPr>
              <a:t>ideias</a:t>
            </a:r>
            <a:r>
              <a:rPr lang="en-US" sz="3000" dirty="0">
                <a:latin typeface="Calibri" panose="020F0502020204030204" pitchFamily="34" charset="0"/>
              </a:rPr>
              <a:t>, </a:t>
            </a:r>
            <a:r>
              <a:rPr lang="en-US" sz="3000" dirty="0" err="1">
                <a:latin typeface="Calibri" panose="020F0502020204030204" pitchFamily="34" charset="0"/>
              </a:rPr>
              <a:t>atividades</a:t>
            </a:r>
            <a:r>
              <a:rPr lang="en-US" sz="3000" dirty="0">
                <a:latin typeface="Calibri" panose="020F0502020204030204" pitchFamily="34" charset="0"/>
              </a:rPr>
              <a:t> e </a:t>
            </a:r>
            <a:r>
              <a:rPr lang="en-US" sz="3000" dirty="0" err="1">
                <a:latin typeface="Calibri" panose="020F0502020204030204" pitchFamily="34" charset="0"/>
              </a:rPr>
              <a:t>ações</a:t>
            </a:r>
            <a:r>
              <a:rPr lang="en-US" sz="3000" dirty="0">
                <a:latin typeface="Calibri" panose="020F0502020204030204" pitchFamily="34" charset="0"/>
              </a:rPr>
              <a:t> </a:t>
            </a:r>
            <a:r>
              <a:rPr lang="en-US" sz="3000" dirty="0" err="1">
                <a:latin typeface="Calibri" panose="020F0502020204030204" pitchFamily="34" charset="0"/>
              </a:rPr>
              <a:t>não</a:t>
            </a:r>
            <a:r>
              <a:rPr lang="en-US" sz="3000" dirty="0">
                <a:latin typeface="Calibri" panose="020F0502020204030204" pitchFamily="34" charset="0"/>
              </a:rPr>
              <a:t> </a:t>
            </a:r>
            <a:r>
              <a:rPr lang="en-US" sz="3000" dirty="0" err="1">
                <a:latin typeface="Calibri" panose="020F0502020204030204" pitchFamily="34" charset="0"/>
              </a:rPr>
              <a:t>tradicionais</a:t>
            </a:r>
            <a:r>
              <a:rPr lang="en-US" sz="3000" dirty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4"/>
          <a:stretch/>
        </p:blipFill>
        <p:spPr>
          <a:xfrm>
            <a:off x="385435" y="2471505"/>
            <a:ext cx="7560878" cy="6167669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B1405009-73F2-5EBA-EBDE-5BC8CD4592E1}"/>
              </a:ext>
            </a:extLst>
          </p:cNvPr>
          <p:cNvSpPr/>
          <p:nvPr/>
        </p:nvSpPr>
        <p:spPr>
          <a:xfrm>
            <a:off x="4968590" y="8822230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39943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ixaDeTexto 16">
            <a:extLst>
              <a:ext uri="{FF2B5EF4-FFF2-40B4-BE49-F238E27FC236}">
                <a16:creationId xmlns:a16="http://schemas.microsoft.com/office/drawing/2014/main" id="{9B591B51-862C-8646-A1FA-88D5669B41B5}"/>
              </a:ext>
            </a:extLst>
          </p:cNvPr>
          <p:cNvSpPr txBox="1"/>
          <p:nvPr/>
        </p:nvSpPr>
        <p:spPr>
          <a:xfrm>
            <a:off x="1364729" y="2911252"/>
            <a:ext cx="642937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Burocracia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Foco no curto prazo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ontrole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Hierarquia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Silos e feudos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ompetição interna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autela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Poder</a:t>
            </a:r>
          </a:p>
          <a:p>
            <a:pPr marL="457200" indent="-457200" defTabSz="1028768">
              <a:lnSpc>
                <a:spcPct val="120000"/>
              </a:lnSpc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r>
              <a:rPr lang="pt-BR" sz="3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Esconder informação</a:t>
            </a:r>
          </a:p>
          <a:p>
            <a:pPr marL="321490" indent="-321490" defTabSz="1028768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endParaRPr lang="pt-BR" sz="30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CF4B0545-EA23-40EA-869A-10111E00F48D}"/>
              </a:ext>
            </a:extLst>
          </p:cNvPr>
          <p:cNvSpPr txBox="1">
            <a:spLocks/>
          </p:cNvSpPr>
          <p:nvPr/>
        </p:nvSpPr>
        <p:spPr>
          <a:xfrm>
            <a:off x="-645471" y="1183060"/>
            <a:ext cx="10296567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lvl="0"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4000" dirty="0">
                <a:solidFill>
                  <a:srgbClr val="69ADE7"/>
                </a:solidFill>
                <a:effectLst/>
                <a:latin typeface="+mn-lt"/>
                <a:ea typeface="+mj-ea"/>
                <a:cs typeface="+mj-cs"/>
              </a:rPr>
              <a:t>Valores limitantes dos líderes brasileiros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D3EFC3EA-DEE5-4607-96A8-58FAE2A41B0C}"/>
              </a:ext>
            </a:extLst>
          </p:cNvPr>
          <p:cNvSpPr/>
          <p:nvPr/>
        </p:nvSpPr>
        <p:spPr>
          <a:xfrm>
            <a:off x="7794104" y="9125416"/>
            <a:ext cx="1333538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Fonte: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Crescimentum</a:t>
            </a:r>
            <a:endParaRPr lang="pt-BR" sz="2000" i="1" dirty="0">
              <a:latin typeface="Calibri" panose="020F0502020204030204" pitchFamily="34" charset="0"/>
              <a:cs typeface="Segoe UI" panose="020B0502040204020203" pitchFamily="34" charset="0"/>
            </a:endParaRPr>
          </a:p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Pesquisa BVC - Cultural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Values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Assessment</a:t>
            </a:r>
          </a:p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183 empresas localizadas no Brasil, 2012 - 2019</a:t>
            </a:r>
          </a:p>
        </p:txBody>
      </p:sp>
    </p:spTree>
    <p:extLst>
      <p:ext uri="{BB962C8B-B14F-4D97-AF65-F5344CB8AC3E}">
        <p14:creationId xmlns:p14="http://schemas.microsoft.com/office/powerpoint/2010/main" val="4526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6A2964E8-381A-4A61-8E74-ED8EB3BE2A4D}"/>
              </a:ext>
            </a:extLst>
          </p:cNvPr>
          <p:cNvGrpSpPr/>
          <p:nvPr/>
        </p:nvGrpSpPr>
        <p:grpSpPr>
          <a:xfrm>
            <a:off x="1982276" y="3665909"/>
            <a:ext cx="3897293" cy="4807905"/>
            <a:chOff x="4965672" y="3377351"/>
            <a:chExt cx="2880000" cy="5636463"/>
          </a:xfrm>
          <a:solidFill>
            <a:schemeClr val="bg1"/>
          </a:solidFill>
        </p:grpSpPr>
        <p:sp>
          <p:nvSpPr>
            <p:cNvPr id="16" name="Google Shape;198;p7">
              <a:extLst>
                <a:ext uri="{FF2B5EF4-FFF2-40B4-BE49-F238E27FC236}">
                  <a16:creationId xmlns:a16="http://schemas.microsoft.com/office/drawing/2014/main" id="{3971220E-6766-4E2B-BEC0-844425700741}"/>
                </a:ext>
              </a:extLst>
            </p:cNvPr>
            <p:cNvSpPr/>
            <p:nvPr/>
          </p:nvSpPr>
          <p:spPr>
            <a:xfrm>
              <a:off x="4965672" y="4642467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aprendizagem pontual</a:t>
              </a:r>
              <a:endParaRPr lang="pt-BR" dirty="0">
                <a:latin typeface="+mj-lt"/>
              </a:endParaRPr>
            </a:p>
          </p:txBody>
        </p:sp>
        <p:sp>
          <p:nvSpPr>
            <p:cNvPr id="17" name="Google Shape;199;p7">
              <a:extLst>
                <a:ext uri="{FF2B5EF4-FFF2-40B4-BE49-F238E27FC236}">
                  <a16:creationId xmlns:a16="http://schemas.microsoft.com/office/drawing/2014/main" id="{129C0BF2-3ADF-4622-B688-F09DA5E9B2F3}"/>
                </a:ext>
              </a:extLst>
            </p:cNvPr>
            <p:cNvSpPr/>
            <p:nvPr/>
          </p:nvSpPr>
          <p:spPr>
            <a:xfrm>
              <a:off x="4965672" y="7172699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escritório</a:t>
              </a:r>
              <a:endParaRPr lang="pt-BR" dirty="0">
                <a:latin typeface="+mj-lt"/>
              </a:endParaRPr>
            </a:p>
          </p:txBody>
        </p:sp>
        <p:sp>
          <p:nvSpPr>
            <p:cNvPr id="18" name="Google Shape;200;p7">
              <a:extLst>
                <a:ext uri="{FF2B5EF4-FFF2-40B4-BE49-F238E27FC236}">
                  <a16:creationId xmlns:a16="http://schemas.microsoft.com/office/drawing/2014/main" id="{1FD8D0E4-A62E-42EF-A83C-46F5C456F1FF}"/>
                </a:ext>
              </a:extLst>
            </p:cNvPr>
            <p:cNvSpPr/>
            <p:nvPr/>
          </p:nvSpPr>
          <p:spPr>
            <a:xfrm>
              <a:off x="4965672" y="654014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horário trabalho rígido</a:t>
              </a:r>
              <a:endParaRPr lang="pt-BR" dirty="0">
                <a:latin typeface="+mj-lt"/>
              </a:endParaRPr>
            </a:p>
          </p:txBody>
        </p:sp>
        <p:sp>
          <p:nvSpPr>
            <p:cNvPr id="19" name="Google Shape;201;p7">
              <a:extLst>
                <a:ext uri="{FF2B5EF4-FFF2-40B4-BE49-F238E27FC236}">
                  <a16:creationId xmlns:a16="http://schemas.microsoft.com/office/drawing/2014/main" id="{B596E478-191F-4547-9455-14F32C60145F}"/>
                </a:ext>
              </a:extLst>
            </p:cNvPr>
            <p:cNvSpPr/>
            <p:nvPr/>
          </p:nvSpPr>
          <p:spPr>
            <a:xfrm>
              <a:off x="4965672" y="4009909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medo de falhar</a:t>
              </a:r>
              <a:endParaRPr lang="pt-BR" dirty="0">
                <a:latin typeface="+mj-lt"/>
              </a:endParaRPr>
            </a:p>
          </p:txBody>
        </p:sp>
        <p:sp>
          <p:nvSpPr>
            <p:cNvPr id="20" name="Google Shape;202;p7">
              <a:extLst>
                <a:ext uri="{FF2B5EF4-FFF2-40B4-BE49-F238E27FC236}">
                  <a16:creationId xmlns:a16="http://schemas.microsoft.com/office/drawing/2014/main" id="{6034A03C-AC2A-4BBE-A14B-70267F7255FF}"/>
                </a:ext>
              </a:extLst>
            </p:cNvPr>
            <p:cNvSpPr/>
            <p:nvPr/>
          </p:nvSpPr>
          <p:spPr>
            <a:xfrm>
              <a:off x="4965672" y="5275025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processos anuais </a:t>
              </a:r>
              <a:endParaRPr lang="pt-BR" dirty="0">
                <a:latin typeface="+mj-lt"/>
              </a:endParaRPr>
            </a:p>
          </p:txBody>
        </p:sp>
        <p:sp>
          <p:nvSpPr>
            <p:cNvPr id="26" name="Google Shape;208;p7">
              <a:extLst>
                <a:ext uri="{FF2B5EF4-FFF2-40B4-BE49-F238E27FC236}">
                  <a16:creationId xmlns:a16="http://schemas.microsoft.com/office/drawing/2014/main" id="{58439014-B48F-49A8-9790-107353548A21}"/>
                </a:ext>
              </a:extLst>
            </p:cNvPr>
            <p:cNvSpPr/>
            <p:nvPr/>
          </p:nvSpPr>
          <p:spPr>
            <a:xfrm>
              <a:off x="4965672" y="5907583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liderança de cima para baixo</a:t>
              </a:r>
              <a:endParaRPr lang="pt-BR" dirty="0">
                <a:latin typeface="+mj-lt"/>
              </a:endParaRPr>
            </a:p>
          </p:txBody>
        </p:sp>
        <p:sp>
          <p:nvSpPr>
            <p:cNvPr id="28" name="Google Shape;210;p7">
              <a:extLst>
                <a:ext uri="{FF2B5EF4-FFF2-40B4-BE49-F238E27FC236}">
                  <a16:creationId xmlns:a16="http://schemas.microsoft.com/office/drawing/2014/main" id="{257C91A2-D470-439D-ACE4-FA13A1F79F10}"/>
                </a:ext>
              </a:extLst>
            </p:cNvPr>
            <p:cNvSpPr/>
            <p:nvPr/>
          </p:nvSpPr>
          <p:spPr>
            <a:xfrm>
              <a:off x="4965672" y="337735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controle excessivo</a:t>
              </a:r>
              <a:endParaRPr lang="pt-BR" dirty="0">
                <a:latin typeface="+mj-lt"/>
              </a:endParaRPr>
            </a:p>
          </p:txBody>
        </p:sp>
        <p:sp>
          <p:nvSpPr>
            <p:cNvPr id="30" name="Google Shape;212;p7">
              <a:extLst>
                <a:ext uri="{FF2B5EF4-FFF2-40B4-BE49-F238E27FC236}">
                  <a16:creationId xmlns:a16="http://schemas.microsoft.com/office/drawing/2014/main" id="{ED2479C1-2832-4844-9CB5-EA1FD382AFCE}"/>
                </a:ext>
              </a:extLst>
            </p:cNvPr>
            <p:cNvSpPr/>
            <p:nvPr/>
          </p:nvSpPr>
          <p:spPr>
            <a:xfrm>
              <a:off x="4965672" y="7805257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tecnologia como um departamento</a:t>
              </a:r>
              <a:endParaRPr lang="pt-BR" dirty="0">
                <a:latin typeface="+mj-lt"/>
              </a:endParaRPr>
            </a:p>
          </p:txBody>
        </p:sp>
        <p:sp>
          <p:nvSpPr>
            <p:cNvPr id="32" name="Google Shape;214;p7">
              <a:extLst>
                <a:ext uri="{FF2B5EF4-FFF2-40B4-BE49-F238E27FC236}">
                  <a16:creationId xmlns:a16="http://schemas.microsoft.com/office/drawing/2014/main" id="{1308973C-8243-4911-A222-E2628B45E079}"/>
                </a:ext>
              </a:extLst>
            </p:cNvPr>
            <p:cNvSpPr/>
            <p:nvPr/>
          </p:nvSpPr>
          <p:spPr>
            <a:xfrm>
              <a:off x="4965672" y="8437814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69ADE7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ausência de segurança psicológica</a:t>
              </a:r>
              <a:endParaRPr lang="pt-BR" dirty="0">
                <a:latin typeface="+mj-lt"/>
              </a:endParaRPr>
            </a:p>
          </p:txBody>
        </p: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D6892FF6-DB7C-45E5-9D05-113CF33790D7}"/>
              </a:ext>
            </a:extLst>
          </p:cNvPr>
          <p:cNvGrpSpPr/>
          <p:nvPr/>
        </p:nvGrpSpPr>
        <p:grpSpPr>
          <a:xfrm>
            <a:off x="6665928" y="3667257"/>
            <a:ext cx="3897293" cy="4806557"/>
            <a:chOff x="10173631" y="3377351"/>
            <a:chExt cx="2880000" cy="5634883"/>
          </a:xfrm>
          <a:solidFill>
            <a:schemeClr val="bg1"/>
          </a:solidFill>
        </p:grpSpPr>
        <p:sp>
          <p:nvSpPr>
            <p:cNvPr id="21" name="Google Shape;203;p7">
              <a:extLst>
                <a:ext uri="{FF2B5EF4-FFF2-40B4-BE49-F238E27FC236}">
                  <a16:creationId xmlns:a16="http://schemas.microsoft.com/office/drawing/2014/main" id="{92DA3067-C0D9-4491-A417-6C2462CCE836}"/>
                </a:ext>
              </a:extLst>
            </p:cNvPr>
            <p:cNvSpPr/>
            <p:nvPr/>
          </p:nvSpPr>
          <p:spPr>
            <a:xfrm>
              <a:off x="10173631" y="464207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experiência contínua</a:t>
              </a:r>
              <a:endParaRPr lang="pt-BR" dirty="0">
                <a:latin typeface="+mj-lt"/>
              </a:endParaRPr>
            </a:p>
          </p:txBody>
        </p:sp>
        <p:sp>
          <p:nvSpPr>
            <p:cNvPr id="22" name="Google Shape;204;p7">
              <a:extLst>
                <a:ext uri="{FF2B5EF4-FFF2-40B4-BE49-F238E27FC236}">
                  <a16:creationId xmlns:a16="http://schemas.microsoft.com/office/drawing/2014/main" id="{7F609D9E-5041-4267-B8CC-E849CA100AD2}"/>
                </a:ext>
              </a:extLst>
            </p:cNvPr>
            <p:cNvSpPr/>
            <p:nvPr/>
          </p:nvSpPr>
          <p:spPr>
            <a:xfrm>
              <a:off x="10173631" y="717151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espaço virtual</a:t>
              </a:r>
              <a:endParaRPr lang="pt-BR" dirty="0">
                <a:latin typeface="+mj-lt"/>
              </a:endParaRPr>
            </a:p>
          </p:txBody>
        </p:sp>
        <p:sp>
          <p:nvSpPr>
            <p:cNvPr id="23" name="Google Shape;205;p7">
              <a:extLst>
                <a:ext uri="{FF2B5EF4-FFF2-40B4-BE49-F238E27FC236}">
                  <a16:creationId xmlns:a16="http://schemas.microsoft.com/office/drawing/2014/main" id="{62DDE640-8E7C-4F2D-BDA0-3373B0F07738}"/>
                </a:ext>
              </a:extLst>
            </p:cNvPr>
            <p:cNvSpPr/>
            <p:nvPr/>
          </p:nvSpPr>
          <p:spPr>
            <a:xfrm>
              <a:off x="10173631" y="653915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flexibilidade e prazer profissional</a:t>
              </a:r>
              <a:endParaRPr lang="pt-BR" dirty="0">
                <a:latin typeface="+mj-lt"/>
              </a:endParaRPr>
            </a:p>
          </p:txBody>
        </p:sp>
        <p:sp>
          <p:nvSpPr>
            <p:cNvPr id="24" name="Google Shape;206;p7">
              <a:extLst>
                <a:ext uri="{FF2B5EF4-FFF2-40B4-BE49-F238E27FC236}">
                  <a16:creationId xmlns:a16="http://schemas.microsoft.com/office/drawing/2014/main" id="{8409DFC0-136E-4CA1-B324-AA461CAE5C1D}"/>
                </a:ext>
              </a:extLst>
            </p:cNvPr>
            <p:cNvSpPr/>
            <p:nvPr/>
          </p:nvSpPr>
          <p:spPr>
            <a:xfrm>
              <a:off x="10173631" y="400971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oportunidade de aprender</a:t>
              </a:r>
              <a:endParaRPr lang="pt-BR" dirty="0">
                <a:latin typeface="+mj-lt"/>
              </a:endParaRPr>
            </a:p>
          </p:txBody>
        </p:sp>
        <p:sp>
          <p:nvSpPr>
            <p:cNvPr id="25" name="Google Shape;207;p7">
              <a:extLst>
                <a:ext uri="{FF2B5EF4-FFF2-40B4-BE49-F238E27FC236}">
                  <a16:creationId xmlns:a16="http://schemas.microsoft.com/office/drawing/2014/main" id="{0EA268E9-652E-4EAA-8124-9BE040A7DA85}"/>
                </a:ext>
              </a:extLst>
            </p:cNvPr>
            <p:cNvSpPr/>
            <p:nvPr/>
          </p:nvSpPr>
          <p:spPr>
            <a:xfrm>
              <a:off x="10173631" y="527443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processos curtos</a:t>
              </a:r>
              <a:endParaRPr lang="pt-BR" dirty="0">
                <a:latin typeface="+mj-lt"/>
              </a:endParaRPr>
            </a:p>
          </p:txBody>
        </p:sp>
        <p:sp>
          <p:nvSpPr>
            <p:cNvPr id="27" name="Google Shape;209;p7">
              <a:extLst>
                <a:ext uri="{FF2B5EF4-FFF2-40B4-BE49-F238E27FC236}">
                  <a16:creationId xmlns:a16="http://schemas.microsoft.com/office/drawing/2014/main" id="{B4E0A05F-B229-4A73-B53E-952C1D86397D}"/>
                </a:ext>
              </a:extLst>
            </p:cNvPr>
            <p:cNvSpPr/>
            <p:nvPr/>
          </p:nvSpPr>
          <p:spPr>
            <a:xfrm>
              <a:off x="10173631" y="590679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equipes movidas a objetivos</a:t>
              </a:r>
              <a:endParaRPr lang="pt-BR" dirty="0">
                <a:latin typeface="+mj-lt"/>
              </a:endParaRPr>
            </a:p>
          </p:txBody>
        </p:sp>
        <p:sp>
          <p:nvSpPr>
            <p:cNvPr id="29" name="Google Shape;211;p7">
              <a:extLst>
                <a:ext uri="{FF2B5EF4-FFF2-40B4-BE49-F238E27FC236}">
                  <a16:creationId xmlns:a16="http://schemas.microsoft.com/office/drawing/2014/main" id="{0BE95FBF-8B99-4BA8-81D0-7D282216A28A}"/>
                </a:ext>
              </a:extLst>
            </p:cNvPr>
            <p:cNvSpPr/>
            <p:nvPr/>
          </p:nvSpPr>
          <p:spPr>
            <a:xfrm>
              <a:off x="10173631" y="337735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colaboração e autonomia</a:t>
              </a:r>
              <a:endParaRPr lang="pt-BR" dirty="0">
                <a:latin typeface="+mj-lt"/>
              </a:endParaRPr>
            </a:p>
          </p:txBody>
        </p:sp>
        <p:sp>
          <p:nvSpPr>
            <p:cNvPr id="31" name="Google Shape;213;p7">
              <a:extLst>
                <a:ext uri="{FF2B5EF4-FFF2-40B4-BE49-F238E27FC236}">
                  <a16:creationId xmlns:a16="http://schemas.microsoft.com/office/drawing/2014/main" id="{EB354895-B943-4083-B6F3-4568F8325426}"/>
                </a:ext>
              </a:extLst>
            </p:cNvPr>
            <p:cNvSpPr/>
            <p:nvPr/>
          </p:nvSpPr>
          <p:spPr>
            <a:xfrm>
              <a:off x="10173631" y="7803871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tecnologia no centro de tudo</a:t>
              </a:r>
              <a:endParaRPr lang="pt-BR" dirty="0">
                <a:latin typeface="+mj-lt"/>
              </a:endParaRPr>
            </a:p>
          </p:txBody>
        </p:sp>
        <p:sp>
          <p:nvSpPr>
            <p:cNvPr id="33" name="Google Shape;215;p7">
              <a:extLst>
                <a:ext uri="{FF2B5EF4-FFF2-40B4-BE49-F238E27FC236}">
                  <a16:creationId xmlns:a16="http://schemas.microsoft.com/office/drawing/2014/main" id="{441CF836-3337-4380-B30D-692AA1FB6FB7}"/>
                </a:ext>
              </a:extLst>
            </p:cNvPr>
            <p:cNvSpPr/>
            <p:nvPr/>
          </p:nvSpPr>
          <p:spPr>
            <a:xfrm>
              <a:off x="10173631" y="8436234"/>
              <a:ext cx="2880000" cy="576000"/>
            </a:xfrm>
            <a:prstGeom prst="flowChartAlternateProcess">
              <a:avLst/>
            </a:prstGeom>
            <a:grpFill/>
            <a:ln w="38100" cap="flat" cmpd="sng">
              <a:solidFill>
                <a:srgbClr val="0070C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pt-BR" dirty="0">
                  <a:latin typeface="+mj-lt"/>
                  <a:ea typeface="Verdana"/>
                  <a:sym typeface="Verdana"/>
                </a:rPr>
                <a:t>presença de segurança psicológica</a:t>
              </a:r>
              <a:endParaRPr lang="pt-BR" dirty="0">
                <a:latin typeface="+mj-lt"/>
              </a:endParaRPr>
            </a:p>
          </p:txBody>
        </p:sp>
      </p:grpSp>
      <p:sp>
        <p:nvSpPr>
          <p:cNvPr id="38" name="Google Shape;218;p7">
            <a:extLst>
              <a:ext uri="{FF2B5EF4-FFF2-40B4-BE49-F238E27FC236}">
                <a16:creationId xmlns:a16="http://schemas.microsoft.com/office/drawing/2014/main" id="{F3EFF77E-31CB-42FD-9228-A51D994A9286}"/>
              </a:ext>
            </a:extLst>
          </p:cNvPr>
          <p:cNvSpPr/>
          <p:nvPr/>
        </p:nvSpPr>
        <p:spPr>
          <a:xfrm>
            <a:off x="6442447" y="2875440"/>
            <a:ext cx="4808042" cy="57989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 w="9525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404813" defTabSz="685800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dirty="0">
                <a:solidFill>
                  <a:prstClr val="white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Negócios empoderados por uma cultura digital</a:t>
            </a:r>
          </a:p>
        </p:txBody>
      </p:sp>
      <p:sp>
        <p:nvSpPr>
          <p:cNvPr id="44" name="Google Shape;224;p7">
            <a:extLst>
              <a:ext uri="{FF2B5EF4-FFF2-40B4-BE49-F238E27FC236}">
                <a16:creationId xmlns:a16="http://schemas.microsoft.com/office/drawing/2014/main" id="{596A549B-ECA6-40B7-B2EA-CF48BC61A46D}"/>
              </a:ext>
            </a:extLst>
          </p:cNvPr>
          <p:cNvSpPr/>
          <p:nvPr/>
        </p:nvSpPr>
        <p:spPr>
          <a:xfrm>
            <a:off x="6078993" y="2839244"/>
            <a:ext cx="363455" cy="5634570"/>
          </a:xfrm>
          <a:prstGeom prst="roundRect">
            <a:avLst>
              <a:gd name="adj" fmla="val 16667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218;p7">
            <a:extLst>
              <a:ext uri="{FF2B5EF4-FFF2-40B4-BE49-F238E27FC236}">
                <a16:creationId xmlns:a16="http://schemas.microsoft.com/office/drawing/2014/main" id="{0CFBABF8-BC02-47EF-9B22-638AC09384B0}"/>
              </a:ext>
            </a:extLst>
          </p:cNvPr>
          <p:cNvSpPr/>
          <p:nvPr/>
        </p:nvSpPr>
        <p:spPr>
          <a:xfrm flipH="1">
            <a:off x="1169368" y="2875440"/>
            <a:ext cx="4909623" cy="579899"/>
          </a:xfrm>
          <a:prstGeom prst="homePlate">
            <a:avLst>
              <a:gd name="adj" fmla="val 50000"/>
            </a:avLst>
          </a:prstGeom>
          <a:solidFill>
            <a:srgbClr val="69ADE7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404813">
              <a:spcBef>
                <a:spcPts val="0"/>
              </a:spcBef>
              <a:spcAft>
                <a:spcPts val="0"/>
              </a:spcAft>
            </a:pPr>
            <a:r>
              <a:rPr lang="pt-BR" sz="2000" b="1" dirty="0">
                <a:solidFill>
                  <a:schemeClr val="lt1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  <a:sym typeface="Helvetica Neue"/>
              </a:rPr>
              <a:t>Negócios tradicionais</a:t>
            </a:r>
            <a:endParaRPr sz="2000" b="1" dirty="0">
              <a:solidFill>
                <a:schemeClr val="lt1"/>
              </a:solidFill>
              <a:latin typeface="Calibri" panose="020F0502020204030204" pitchFamily="34" charset="0"/>
              <a:ea typeface="Helvetica Neue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9" name="Espaço Reservado para Texto 1">
            <a:extLst>
              <a:ext uri="{FF2B5EF4-FFF2-40B4-BE49-F238E27FC236}">
                <a16:creationId xmlns:a16="http://schemas.microsoft.com/office/drawing/2014/main" id="{A21A074F-14D9-8C2E-04A9-774678F64CF3}"/>
              </a:ext>
            </a:extLst>
          </p:cNvPr>
          <p:cNvSpPr txBox="1">
            <a:spLocks/>
          </p:cNvSpPr>
          <p:nvPr/>
        </p:nvSpPr>
        <p:spPr>
          <a:xfrm>
            <a:off x="1127942" y="1279394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ltura para negócios futuros</a:t>
            </a:r>
          </a:p>
        </p:txBody>
      </p:sp>
    </p:spTree>
    <p:extLst>
      <p:ext uri="{BB962C8B-B14F-4D97-AF65-F5344CB8AC3E}">
        <p14:creationId xmlns:p14="http://schemas.microsoft.com/office/powerpoint/2010/main" val="2721648996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7271036"/>
            <a:ext cx="10287000" cy="82862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B547AB7D-02DF-4DB5-B1B6-29158C921204}"/>
              </a:ext>
            </a:extLst>
          </p:cNvPr>
          <p:cNvSpPr txBox="1"/>
          <p:nvPr/>
        </p:nvSpPr>
        <p:spPr>
          <a:xfrm>
            <a:off x="-4663280" y="1034312"/>
            <a:ext cx="12169352" cy="837941"/>
          </a:xfrm>
          <a:prstGeom prst="rect">
            <a:avLst/>
          </a:prstGeom>
        </p:spPr>
        <p:txBody>
          <a:bodyPr vert="horz" lIns="102870" tIns="51435" rIns="102870" bIns="51435" rtlCol="0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4000" b="1" dirty="0" err="1">
                <a:solidFill>
                  <a:srgbClr val="69ADE7"/>
                </a:solidFill>
                <a:latin typeface="+mj-lt"/>
                <a:ea typeface="+mj-ea"/>
                <a:cs typeface="+mj-cs"/>
              </a:rPr>
              <a:t>Propiciar</a:t>
            </a:r>
            <a:r>
              <a:rPr lang="en-US" sz="4000" b="1" dirty="0">
                <a:solidFill>
                  <a:srgbClr val="69ADE7"/>
                </a:solidFill>
                <a:latin typeface="+mj-lt"/>
                <a:ea typeface="+mj-ea"/>
                <a:cs typeface="+mj-cs"/>
              </a:rPr>
              <a:t> </a:t>
            </a:r>
            <a:r>
              <a:rPr lang="pt-BR" sz="4000" b="1" dirty="0">
                <a:solidFill>
                  <a:srgbClr val="69ADE7"/>
                </a:solidFill>
                <a:latin typeface="+mj-lt"/>
                <a:ea typeface="+mj-ea"/>
                <a:cs typeface="+mj-cs"/>
              </a:rPr>
              <a:t>vitórias</a:t>
            </a:r>
            <a:r>
              <a:rPr lang="en-US" sz="4000" b="1" dirty="0">
                <a:solidFill>
                  <a:srgbClr val="69ADE7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  <a:latin typeface="+mj-lt"/>
                <a:ea typeface="+mj-ea"/>
                <a:cs typeface="+mj-cs"/>
              </a:rPr>
              <a:t>curto</a:t>
            </a:r>
            <a:r>
              <a:rPr lang="en-US" sz="4000" b="1" dirty="0">
                <a:solidFill>
                  <a:srgbClr val="69ADE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000" b="1" dirty="0" err="1">
                <a:solidFill>
                  <a:srgbClr val="69ADE7"/>
                </a:solidFill>
                <a:latin typeface="+mj-lt"/>
                <a:ea typeface="+mj-ea"/>
                <a:cs typeface="+mj-cs"/>
              </a:rPr>
              <a:t>prazo</a:t>
            </a:r>
            <a:r>
              <a:rPr lang="en-US" sz="4000" b="1" dirty="0">
                <a:solidFill>
                  <a:srgbClr val="69ADE7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714500" y="7183106"/>
            <a:ext cx="10287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714500" y="8187584"/>
            <a:ext cx="10287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0"/>
          <a:stretch/>
        </p:blipFill>
        <p:spPr>
          <a:xfrm>
            <a:off x="593304" y="2335188"/>
            <a:ext cx="7113910" cy="6999048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EAC467CB-D16B-47E1-6DB7-F60994B96329}"/>
              </a:ext>
            </a:extLst>
          </p:cNvPr>
          <p:cNvSpPr/>
          <p:nvPr/>
        </p:nvSpPr>
        <p:spPr>
          <a:xfrm>
            <a:off x="4913784" y="9704892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01040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714500" y="7183106"/>
            <a:ext cx="10287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714500" y="8187584"/>
            <a:ext cx="10287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28" y="2191172"/>
            <a:ext cx="9772981" cy="7307274"/>
          </a:xfrm>
          <a:prstGeom prst="rect">
            <a:avLst/>
          </a:prstGeom>
        </p:spPr>
      </p:pic>
      <p:sp>
        <p:nvSpPr>
          <p:cNvPr id="9" name="Título 1"/>
          <p:cNvSpPr>
            <a:spLocks/>
          </p:cNvSpPr>
          <p:nvPr/>
        </p:nvSpPr>
        <p:spPr bwMode="auto">
          <a:xfrm>
            <a:off x="0" y="895028"/>
            <a:ext cx="9286875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>
            <a:noAutofit/>
          </a:bodyPr>
          <a:lstStyle/>
          <a:p>
            <a:pPr algn="r">
              <a:lnSpc>
                <a:spcPct val="90000"/>
              </a:lnSpc>
            </a:pPr>
            <a:r>
              <a:rPr lang="pt-BR" sz="4000" b="1" dirty="0">
                <a:solidFill>
                  <a:srgbClr val="69ADE7"/>
                </a:solidFill>
                <a:latin typeface="+mn-lt"/>
                <a:ea typeface="+mj-ea"/>
                <a:cs typeface="+mj-cs"/>
              </a:rPr>
              <a:t>Quem é o melhor provedor do reforço ?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FA8A837E-4D30-21A1-3366-7CCEA22F3FBF}"/>
              </a:ext>
            </a:extLst>
          </p:cNvPr>
          <p:cNvSpPr/>
          <p:nvPr/>
        </p:nvSpPr>
        <p:spPr>
          <a:xfrm>
            <a:off x="5333805" y="9694422"/>
            <a:ext cx="133353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Fonte: Pesquisa Gestão da Mudança 2028,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Prosci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Research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34462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/>
          </p:cNvSpPr>
          <p:nvPr/>
        </p:nvSpPr>
        <p:spPr bwMode="auto">
          <a:xfrm>
            <a:off x="-3151112" y="895028"/>
            <a:ext cx="9286875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>
            <a:noAutofit/>
          </a:bodyPr>
          <a:lstStyle/>
          <a:p>
            <a:pPr algn="r">
              <a:lnSpc>
                <a:spcPct val="90000"/>
              </a:lnSpc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+mj-ea"/>
                <a:cs typeface="+mj-cs"/>
              </a:rPr>
              <a:t>Não permitir o desânimo</a:t>
            </a:r>
            <a:endParaRPr lang="en-US" sz="4000" b="1" dirty="0">
              <a:solidFill>
                <a:srgbClr val="69ADE7"/>
              </a:solidFill>
              <a:latin typeface="+mj-lt"/>
              <a:ea typeface="+mj-ea"/>
              <a:cs typeface="+mj-cs"/>
            </a:endParaRPr>
          </a:p>
          <a:p>
            <a:pPr algn="r">
              <a:lnSpc>
                <a:spcPct val="90000"/>
              </a:lnSpc>
            </a:pPr>
            <a:endParaRPr lang="pt-BR" sz="4000" b="1" dirty="0">
              <a:solidFill>
                <a:srgbClr val="69ADE7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050" name="Picture 2" descr="Resultado de imagem para imagem tipos de liderança no barco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58"/>
          <a:stretch/>
        </p:blipFill>
        <p:spPr bwMode="auto">
          <a:xfrm>
            <a:off x="305272" y="3487316"/>
            <a:ext cx="6017763" cy="3896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Resultado de imagem para imagem liderança no bar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968" y="3451312"/>
            <a:ext cx="6323299" cy="3968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7616DE70-C4DF-961C-2438-5D26546162E6}"/>
              </a:ext>
            </a:extLst>
          </p:cNvPr>
          <p:cNvSpPr/>
          <p:nvPr/>
        </p:nvSpPr>
        <p:spPr>
          <a:xfrm>
            <a:off x="9522296" y="7807796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s imagens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35191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F0E89267-5756-4A0D-9A97-FD2B5D2FDD5B}"/>
              </a:ext>
            </a:extLst>
          </p:cNvPr>
          <p:cNvSpPr txBox="1"/>
          <p:nvPr/>
        </p:nvSpPr>
        <p:spPr>
          <a:xfrm>
            <a:off x="809328" y="1543100"/>
            <a:ext cx="11610528" cy="7840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spcAft>
                <a:spcPts val="192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O </a:t>
            </a:r>
            <a:r>
              <a:rPr lang="pt-BR" sz="3100" dirty="0" err="1">
                <a:effectLst/>
                <a:latin typeface="+mn-lt"/>
                <a:ea typeface="Times New Roman" panose="02020603050405020304" pitchFamily="18" charset="0"/>
              </a:rPr>
              <a:t>Prosci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 ADKAR® Model é um método para gerenciar mudanças no nível dos indivíduos. É um acrônimo que representa os cinco resultados tangíveis e concretos que as pessoas precisam alcançar para que uma mudança seja efetiva. </a:t>
            </a:r>
          </a:p>
          <a:p>
            <a:pPr marL="457200" indent="-457200" algn="just">
              <a:spcAft>
                <a:spcPts val="192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imes New Roman" panose="02020603050405020304" pitchFamily="18" charset="0"/>
              </a:rPr>
              <a:t>Os elementos se encaixam na ordem natural de como uma pessoa vivência a mudança;</a:t>
            </a:r>
          </a:p>
          <a:p>
            <a:pPr marL="457200" indent="-457200" algn="just">
              <a:spcAft>
                <a:spcPts val="192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1000" dirty="0">
              <a:effectLst/>
              <a:latin typeface="+mn-lt"/>
              <a:ea typeface="Times New Roman" panose="02020603050405020304" pitchFamily="18" charset="0"/>
            </a:endParaRPr>
          </a:p>
          <a:p>
            <a:endParaRPr lang="pt-BR" sz="800" dirty="0">
              <a:effectLst/>
              <a:latin typeface="+mn-lt"/>
              <a:ea typeface="Times New Roman" panose="02020603050405020304" pitchFamily="18" charset="0"/>
            </a:endParaRPr>
          </a:p>
          <a:p>
            <a:r>
              <a:rPr lang="pt-BR" sz="2800" b="1" dirty="0" err="1">
                <a:effectLst/>
                <a:latin typeface="+mn-lt"/>
                <a:ea typeface="Times New Roman" panose="02020603050405020304" pitchFamily="18" charset="0"/>
              </a:rPr>
              <a:t>A</a:t>
            </a:r>
            <a:r>
              <a:rPr lang="pt-BR" sz="2800" dirty="0" err="1">
                <a:effectLst/>
                <a:latin typeface="+mn-lt"/>
                <a:ea typeface="Times New Roman" panose="02020603050405020304" pitchFamily="18" charset="0"/>
              </a:rPr>
              <a:t>wareness</a:t>
            </a: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 ........ Consciência da necessidade da mudança,</a:t>
            </a:r>
            <a:br>
              <a:rPr lang="pt-BR" sz="2800" dirty="0">
                <a:effectLst/>
                <a:latin typeface="+mn-lt"/>
                <a:ea typeface="Times New Roman" panose="02020603050405020304" pitchFamily="18" charset="0"/>
              </a:rPr>
            </a:b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 </a:t>
            </a:r>
          </a:p>
          <a:p>
            <a:r>
              <a:rPr lang="pt-BR" sz="2800" b="1" dirty="0" err="1">
                <a:effectLst/>
                <a:latin typeface="+mn-lt"/>
                <a:ea typeface="Times New Roman" panose="02020603050405020304" pitchFamily="18" charset="0"/>
              </a:rPr>
              <a:t>D</a:t>
            </a:r>
            <a:r>
              <a:rPr lang="pt-BR" sz="2800" dirty="0" err="1">
                <a:effectLst/>
                <a:latin typeface="+mn-lt"/>
                <a:ea typeface="Times New Roman" panose="02020603050405020304" pitchFamily="18" charset="0"/>
              </a:rPr>
              <a:t>esire</a:t>
            </a: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 ................ Desejo de participar e apoiar a mudança,</a:t>
            </a:r>
            <a:br>
              <a:rPr lang="pt-BR" sz="2800" dirty="0">
                <a:effectLst/>
                <a:latin typeface="+mn-lt"/>
                <a:ea typeface="Times New Roman" panose="02020603050405020304" pitchFamily="18" charset="0"/>
              </a:rPr>
            </a:b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 </a:t>
            </a:r>
          </a:p>
          <a:p>
            <a:r>
              <a:rPr lang="pt-BR" sz="2800" b="1" dirty="0" err="1">
                <a:effectLst/>
                <a:latin typeface="+mn-lt"/>
                <a:ea typeface="Times New Roman" panose="02020603050405020304" pitchFamily="18" charset="0"/>
              </a:rPr>
              <a:t>K</a:t>
            </a:r>
            <a:r>
              <a:rPr lang="pt-BR" sz="2800" dirty="0" err="1">
                <a:effectLst/>
                <a:latin typeface="+mn-lt"/>
                <a:ea typeface="Times New Roman" panose="02020603050405020304" pitchFamily="18" charset="0"/>
              </a:rPr>
              <a:t>nowledge</a:t>
            </a: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 ......... Conhecimento sobre como mudar,</a:t>
            </a:r>
            <a:br>
              <a:rPr lang="pt-BR" sz="2800" dirty="0">
                <a:effectLst/>
                <a:latin typeface="+mn-lt"/>
                <a:ea typeface="Times New Roman" panose="02020603050405020304" pitchFamily="18" charset="0"/>
              </a:rPr>
            </a:br>
            <a:endParaRPr lang="pt-BR" sz="2800" dirty="0">
              <a:effectLst/>
              <a:latin typeface="+mn-lt"/>
              <a:ea typeface="Times New Roman" panose="02020603050405020304" pitchFamily="18" charset="0"/>
            </a:endParaRPr>
          </a:p>
          <a:p>
            <a:r>
              <a:rPr lang="pt-BR" sz="2800" b="1" dirty="0" err="1">
                <a:effectLst/>
                <a:latin typeface="+mn-lt"/>
                <a:ea typeface="Times New Roman" panose="02020603050405020304" pitchFamily="18" charset="0"/>
              </a:rPr>
              <a:t>A</a:t>
            </a:r>
            <a:r>
              <a:rPr lang="pt-BR" sz="2800" dirty="0" err="1">
                <a:effectLst/>
                <a:latin typeface="+mn-lt"/>
                <a:ea typeface="Times New Roman" panose="02020603050405020304" pitchFamily="18" charset="0"/>
              </a:rPr>
              <a:t>bility</a:t>
            </a: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 ................ Habilidade de colocar em prática e</a:t>
            </a:r>
            <a:br>
              <a:rPr lang="pt-BR" sz="2800" dirty="0">
                <a:effectLst/>
                <a:latin typeface="+mn-lt"/>
                <a:ea typeface="Times New Roman" panose="02020603050405020304" pitchFamily="18" charset="0"/>
              </a:rPr>
            </a:br>
            <a:endParaRPr lang="pt-BR" sz="2800" dirty="0">
              <a:effectLst/>
              <a:latin typeface="+mn-lt"/>
              <a:ea typeface="Times New Roman" panose="02020603050405020304" pitchFamily="18" charset="0"/>
            </a:endParaRPr>
          </a:p>
          <a:p>
            <a:r>
              <a:rPr lang="pt-BR" sz="2800" b="1" dirty="0" err="1">
                <a:effectLst/>
                <a:latin typeface="+mn-lt"/>
                <a:ea typeface="Times New Roman" panose="02020603050405020304" pitchFamily="18" charset="0"/>
              </a:rPr>
              <a:t>R</a:t>
            </a:r>
            <a:r>
              <a:rPr lang="pt-BR" sz="2800" dirty="0" err="1">
                <a:effectLst/>
                <a:latin typeface="+mn-lt"/>
                <a:ea typeface="Times New Roman" panose="02020603050405020304" pitchFamily="18" charset="0"/>
              </a:rPr>
              <a:t>einforcement</a:t>
            </a: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 ..... Reforço para sustentar a mudança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064AA4A-85CB-15F5-F22B-A9DD7BC49101}"/>
              </a:ext>
            </a:extLst>
          </p:cNvPr>
          <p:cNvSpPr txBox="1">
            <a:spLocks/>
          </p:cNvSpPr>
          <p:nvPr/>
        </p:nvSpPr>
        <p:spPr>
          <a:xfrm>
            <a:off x="0" y="509661"/>
            <a:ext cx="9286875" cy="900113"/>
          </a:xfr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b="1" dirty="0" err="1">
                <a:solidFill>
                  <a:srgbClr val="69ADE7"/>
                </a:solidFill>
              </a:rPr>
              <a:t>Metodologia</a:t>
            </a:r>
            <a:r>
              <a:rPr lang="en-US" sz="4000" b="1" dirty="0">
                <a:solidFill>
                  <a:srgbClr val="69ADE7"/>
                </a:solidFill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</a:rPr>
              <a:t>gestão</a:t>
            </a:r>
            <a:r>
              <a:rPr lang="en-US" sz="4000" b="1" dirty="0">
                <a:solidFill>
                  <a:srgbClr val="69ADE7"/>
                </a:solidFill>
              </a:rPr>
              <a:t> da </a:t>
            </a:r>
            <a:r>
              <a:rPr lang="en-US" sz="4000" b="1" dirty="0" err="1">
                <a:solidFill>
                  <a:srgbClr val="69ADE7"/>
                </a:solidFill>
              </a:rPr>
              <a:t>mudança</a:t>
            </a:r>
            <a:endParaRPr lang="pt-BR" sz="4000" b="1" dirty="0">
              <a:solidFill>
                <a:srgbClr val="69ADE7"/>
              </a:solidFill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6E58D90-60D0-3C3C-F8E8-B9C78A8EB17C}"/>
              </a:ext>
            </a:extLst>
          </p:cNvPr>
          <p:cNvSpPr/>
          <p:nvPr/>
        </p:nvSpPr>
        <p:spPr>
          <a:xfrm>
            <a:off x="10386392" y="9886890"/>
            <a:ext cx="133353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Fonte: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Prosci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Research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29541518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F0E89267-5756-4A0D-9A97-FD2B5D2FDD5B}"/>
              </a:ext>
            </a:extLst>
          </p:cNvPr>
          <p:cNvSpPr txBox="1"/>
          <p:nvPr/>
        </p:nvSpPr>
        <p:spPr>
          <a:xfrm>
            <a:off x="809328" y="1543100"/>
            <a:ext cx="11610528" cy="40600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920"/>
              </a:spcAft>
            </a:pP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O </a:t>
            </a:r>
            <a:r>
              <a:rPr lang="pt-BR" sz="3100" dirty="0" err="1">
                <a:effectLst/>
                <a:latin typeface="+mn-lt"/>
                <a:ea typeface="Times New Roman" panose="02020603050405020304" pitchFamily="18" charset="0"/>
              </a:rPr>
              <a:t>Prosci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 ADKAR® Model</a:t>
            </a:r>
            <a:endParaRPr lang="pt-BR" sz="2800" dirty="0">
              <a:effectLst/>
              <a:latin typeface="+mn-lt"/>
              <a:ea typeface="Times New Roman" panose="02020603050405020304" pitchFamily="18" charset="0"/>
            </a:endParaRPr>
          </a:p>
          <a:p>
            <a:r>
              <a:rPr lang="pt-BR" sz="4000" b="1" dirty="0" err="1">
                <a:effectLst/>
                <a:latin typeface="+mn-lt"/>
                <a:ea typeface="Times New Roman" panose="02020603050405020304" pitchFamily="18" charset="0"/>
              </a:rPr>
              <a:t>A</a:t>
            </a:r>
            <a:r>
              <a:rPr lang="pt-BR" sz="3200" dirty="0" err="1">
                <a:effectLst/>
                <a:latin typeface="+mn-lt"/>
                <a:ea typeface="Times New Roman" panose="02020603050405020304" pitchFamily="18" charset="0"/>
              </a:rPr>
              <a:t>wareness</a:t>
            </a:r>
            <a:r>
              <a:rPr lang="pt-BR" sz="3200" dirty="0">
                <a:effectLst/>
                <a:latin typeface="+mn-lt"/>
                <a:ea typeface="Times New Roman" panose="02020603050405020304" pitchFamily="18" charset="0"/>
              </a:rPr>
              <a:t> ........ 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Consciência da necessidade da mudança</a:t>
            </a:r>
            <a:endParaRPr lang="pt-BR" sz="3100" dirty="0">
              <a:latin typeface="+mn-lt"/>
              <a:ea typeface="Times New Roman" panose="02020603050405020304" pitchFamily="18" charset="0"/>
            </a:endParaRPr>
          </a:p>
          <a:p>
            <a:endParaRPr lang="pt-BR" sz="16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  <a:ea typeface="Times New Roman" panose="02020603050405020304" pitchFamily="18" charset="0"/>
              </a:rPr>
              <a:t>A consciência também inclui informações sobre os fatores internos e externos que criaram a necessidade da mudança</a:t>
            </a:r>
            <a:r>
              <a:rPr lang="pt-BR" sz="3100" dirty="0">
                <a:latin typeface="+mn-lt"/>
                <a:ea typeface="Times New Roman" panose="02020603050405020304" pitchFamily="18" charset="0"/>
              </a:rPr>
              <a:t>. </a:t>
            </a: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900" dirty="0"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  <a:ea typeface="Times New Roman" panose="02020603050405020304" pitchFamily="18" charset="0"/>
              </a:rPr>
              <a:t>Perguntas que precisam ser respondidas: “O que eu ganho com isso?”; “Por que essa mudança é necessária?” , “Por que está acontecendo agora?”,  “ O que está errado com o que estamos fazendo hoje?”</a:t>
            </a: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 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064AA4A-85CB-15F5-F22B-A9DD7BC49101}"/>
              </a:ext>
            </a:extLst>
          </p:cNvPr>
          <p:cNvSpPr txBox="1">
            <a:spLocks/>
          </p:cNvSpPr>
          <p:nvPr/>
        </p:nvSpPr>
        <p:spPr>
          <a:xfrm>
            <a:off x="0" y="509661"/>
            <a:ext cx="9286875" cy="900113"/>
          </a:xfr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b="1" dirty="0" err="1">
                <a:solidFill>
                  <a:srgbClr val="69ADE7"/>
                </a:solidFill>
              </a:rPr>
              <a:t>Metodologia</a:t>
            </a:r>
            <a:r>
              <a:rPr lang="en-US" sz="4000" b="1" dirty="0">
                <a:solidFill>
                  <a:srgbClr val="69ADE7"/>
                </a:solidFill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</a:rPr>
              <a:t>gestão</a:t>
            </a:r>
            <a:r>
              <a:rPr lang="en-US" sz="4000" b="1" dirty="0">
                <a:solidFill>
                  <a:srgbClr val="69ADE7"/>
                </a:solidFill>
              </a:rPr>
              <a:t> da </a:t>
            </a:r>
            <a:r>
              <a:rPr lang="en-US" sz="4000" b="1" dirty="0" err="1">
                <a:solidFill>
                  <a:srgbClr val="69ADE7"/>
                </a:solidFill>
              </a:rPr>
              <a:t>mudança</a:t>
            </a:r>
            <a:endParaRPr lang="pt-BR" sz="4000" b="1" dirty="0">
              <a:solidFill>
                <a:srgbClr val="69ADE7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7EAF401-FF4A-35D0-6732-68A93B5BFA0D}"/>
              </a:ext>
            </a:extLst>
          </p:cNvPr>
          <p:cNvSpPr txBox="1"/>
          <p:nvPr/>
        </p:nvSpPr>
        <p:spPr>
          <a:xfrm>
            <a:off x="809328" y="6307819"/>
            <a:ext cx="11610528" cy="2921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920"/>
              </a:spcAft>
              <a:buClr>
                <a:srgbClr val="69ADE7"/>
              </a:buClr>
            </a:pPr>
            <a:r>
              <a:rPr lang="pt-BR" sz="3200" dirty="0">
                <a:effectLst/>
                <a:latin typeface="+mn-lt"/>
                <a:ea typeface="Times New Roman" panose="02020603050405020304" pitchFamily="18" charset="0"/>
              </a:rPr>
              <a:t> </a:t>
            </a:r>
            <a:r>
              <a:rPr lang="pt-BR" sz="4000" b="1" dirty="0">
                <a:effectLst/>
                <a:latin typeface="+mn-lt"/>
                <a:ea typeface="Times New Roman" panose="02020603050405020304" pitchFamily="18" charset="0"/>
              </a:rPr>
              <a:t>D</a:t>
            </a:r>
            <a:r>
              <a:rPr lang="pt-BR" sz="3200" dirty="0">
                <a:effectLst/>
                <a:latin typeface="+mn-lt"/>
                <a:ea typeface="Times New Roman" panose="02020603050405020304" pitchFamily="18" charset="0"/>
              </a:rPr>
              <a:t>esire ................ 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Desejo de participar e apoiar a mudança</a:t>
            </a: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  <a:ea typeface="Times New Roman" panose="02020603050405020304" pitchFamily="18" charset="0"/>
              </a:rPr>
              <a:t>Uma questão pessoal influenciada pela natureza da mudança, pela situação de um indivíduo, bem como por motivadores intrínsecos.</a:t>
            </a: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800" dirty="0"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Erro comum é acreditar que a consciência da necessidade da mudança também se cria o desejo;</a:t>
            </a: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800" dirty="0"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526CB55-4B3A-E832-FACB-8F564DC1274E}"/>
              </a:ext>
            </a:extLst>
          </p:cNvPr>
          <p:cNvSpPr/>
          <p:nvPr/>
        </p:nvSpPr>
        <p:spPr>
          <a:xfrm>
            <a:off x="4121696" y="9883258"/>
            <a:ext cx="133353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Fonte: ADKAR Como implementar uma mudança bem-sucedida,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Prosci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Research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2006.</a:t>
            </a:r>
          </a:p>
        </p:txBody>
      </p:sp>
    </p:spTree>
    <p:extLst>
      <p:ext uri="{BB962C8B-B14F-4D97-AF65-F5344CB8AC3E}">
        <p14:creationId xmlns:p14="http://schemas.microsoft.com/office/powerpoint/2010/main" val="321573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64AA4A-85CB-15F5-F22B-A9DD7BC49101}"/>
              </a:ext>
            </a:extLst>
          </p:cNvPr>
          <p:cNvSpPr txBox="1">
            <a:spLocks/>
          </p:cNvSpPr>
          <p:nvPr/>
        </p:nvSpPr>
        <p:spPr>
          <a:xfrm>
            <a:off x="0" y="509661"/>
            <a:ext cx="9286875" cy="900113"/>
          </a:xfr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b="1" dirty="0" err="1">
                <a:solidFill>
                  <a:srgbClr val="69ADE7"/>
                </a:solidFill>
              </a:rPr>
              <a:t>Metodologia</a:t>
            </a:r>
            <a:r>
              <a:rPr lang="en-US" sz="4000" b="1" dirty="0">
                <a:solidFill>
                  <a:srgbClr val="69ADE7"/>
                </a:solidFill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</a:rPr>
              <a:t>gestão</a:t>
            </a:r>
            <a:r>
              <a:rPr lang="en-US" sz="4000" b="1" dirty="0">
                <a:solidFill>
                  <a:srgbClr val="69ADE7"/>
                </a:solidFill>
              </a:rPr>
              <a:t> da </a:t>
            </a:r>
            <a:r>
              <a:rPr lang="en-US" sz="4000" b="1" dirty="0" err="1">
                <a:solidFill>
                  <a:srgbClr val="69ADE7"/>
                </a:solidFill>
              </a:rPr>
              <a:t>mudança</a:t>
            </a:r>
            <a:endParaRPr lang="pt-BR" sz="4000" b="1" dirty="0">
              <a:solidFill>
                <a:srgbClr val="69ADE7"/>
              </a:solidFill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526CB55-4B3A-E832-FACB-8F564DC1274E}"/>
              </a:ext>
            </a:extLst>
          </p:cNvPr>
          <p:cNvSpPr/>
          <p:nvPr/>
        </p:nvSpPr>
        <p:spPr>
          <a:xfrm>
            <a:off x="4121696" y="9883258"/>
            <a:ext cx="133353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28768">
              <a:defRPr/>
            </a:pP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Fonte: ADKAR Como implementar uma mudança bem-sucedida,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Prosci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pt-BR" sz="2000" i="1" dirty="0" err="1">
                <a:latin typeface="Calibri" panose="020F0502020204030204" pitchFamily="34" charset="0"/>
                <a:cs typeface="Segoe UI" panose="020B0502040204020203" pitchFamily="34" charset="0"/>
              </a:rPr>
              <a:t>Research</a:t>
            </a:r>
            <a:r>
              <a:rPr lang="pt-BR" sz="2000" i="1" dirty="0">
                <a:latin typeface="Calibri" panose="020F0502020204030204" pitchFamily="34" charset="0"/>
                <a:cs typeface="Segoe UI" panose="020B0502040204020203" pitchFamily="34" charset="0"/>
              </a:rPr>
              <a:t> 2006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6B70242-3F24-58A3-EF2B-0CC562E9330D}"/>
              </a:ext>
            </a:extLst>
          </p:cNvPr>
          <p:cNvSpPr txBox="1"/>
          <p:nvPr/>
        </p:nvSpPr>
        <p:spPr>
          <a:xfrm>
            <a:off x="809328" y="4883838"/>
            <a:ext cx="11610528" cy="3216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err="1">
                <a:effectLst/>
                <a:latin typeface="+mn-lt"/>
                <a:ea typeface="Times New Roman" panose="02020603050405020304" pitchFamily="18" charset="0"/>
              </a:rPr>
              <a:t>A</a:t>
            </a:r>
            <a:r>
              <a:rPr lang="pt-BR" sz="3200" dirty="0" err="1">
                <a:effectLst/>
                <a:latin typeface="+mn-lt"/>
                <a:ea typeface="Times New Roman" panose="02020603050405020304" pitchFamily="18" charset="0"/>
              </a:rPr>
              <a:t>bility</a:t>
            </a:r>
            <a:r>
              <a:rPr lang="pt-BR" sz="3200" dirty="0">
                <a:effectLst/>
                <a:latin typeface="+mn-lt"/>
                <a:ea typeface="Times New Roman" panose="02020603050405020304" pitchFamily="18" charset="0"/>
              </a:rPr>
              <a:t> ................ 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Habilidade de colocar em prática </a:t>
            </a:r>
          </a:p>
          <a:p>
            <a:endParaRPr lang="pt-BR" sz="16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  <a:ea typeface="Times New Roman" panose="02020603050405020304" pitchFamily="18" charset="0"/>
              </a:rPr>
              <a:t>É transformar conhecimento em ação. A habilidade é alcançada quando uma pessoa ou grupo tem a capacidade demonstrada para implementar a mudança;</a:t>
            </a:r>
            <a:br>
              <a:rPr lang="pt-BR" sz="3200" dirty="0">
                <a:effectLst/>
                <a:latin typeface="+mn-lt"/>
                <a:ea typeface="Times New Roman" panose="02020603050405020304" pitchFamily="18" charset="0"/>
              </a:rPr>
            </a:br>
            <a:endParaRPr lang="pt-BR" sz="3200" dirty="0">
              <a:effectLst/>
              <a:latin typeface="+mn-lt"/>
              <a:ea typeface="Times New Roman" panose="02020603050405020304" pitchFamily="18" charset="0"/>
            </a:endParaRPr>
          </a:p>
          <a:p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8FA82D6-E62D-E65E-D21E-48A2011D3C69}"/>
              </a:ext>
            </a:extLst>
          </p:cNvPr>
          <p:cNvSpPr txBox="1"/>
          <p:nvPr/>
        </p:nvSpPr>
        <p:spPr>
          <a:xfrm>
            <a:off x="831776" y="7502921"/>
            <a:ext cx="1161052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err="1">
                <a:effectLst/>
                <a:latin typeface="+mn-lt"/>
                <a:ea typeface="Times New Roman" panose="02020603050405020304" pitchFamily="18" charset="0"/>
              </a:rPr>
              <a:t>R</a:t>
            </a:r>
            <a:r>
              <a:rPr lang="pt-BR" sz="3200" dirty="0" err="1">
                <a:effectLst/>
                <a:latin typeface="+mn-lt"/>
                <a:ea typeface="Times New Roman" panose="02020603050405020304" pitchFamily="18" charset="0"/>
              </a:rPr>
              <a:t>einforcement</a:t>
            </a:r>
            <a:r>
              <a:rPr lang="pt-BR" sz="3200" dirty="0">
                <a:effectLst/>
                <a:latin typeface="+mn-lt"/>
                <a:ea typeface="Times New Roman" panose="02020603050405020304" pitchFamily="18" charset="0"/>
              </a:rPr>
              <a:t> ..... 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Reforço para sustentar a mudança</a:t>
            </a:r>
          </a:p>
          <a:p>
            <a:endParaRPr lang="pt-BR" sz="16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  <a:ea typeface="Times New Roman" panose="02020603050405020304" pitchFamily="18" charset="0"/>
              </a:rPr>
              <a:t>Representa fatores externos e internos que sustentam uma mudança;</a:t>
            </a:r>
            <a:endParaRPr lang="pt-BR" sz="2800" dirty="0"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385A98A-4B18-74F6-93BC-5462EFF93AC6}"/>
              </a:ext>
            </a:extLst>
          </p:cNvPr>
          <p:cNvSpPr txBox="1"/>
          <p:nvPr/>
        </p:nvSpPr>
        <p:spPr>
          <a:xfrm>
            <a:off x="790720" y="1445250"/>
            <a:ext cx="11755912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err="1">
                <a:effectLst/>
                <a:latin typeface="+mn-lt"/>
                <a:ea typeface="Times New Roman" panose="02020603050405020304" pitchFamily="18" charset="0"/>
              </a:rPr>
              <a:t>K</a:t>
            </a:r>
            <a:r>
              <a:rPr lang="pt-BR" sz="3200" dirty="0" err="1">
                <a:effectLst/>
                <a:latin typeface="+mn-lt"/>
                <a:ea typeface="Times New Roman" panose="02020603050405020304" pitchFamily="18" charset="0"/>
              </a:rPr>
              <a:t>nowledge</a:t>
            </a:r>
            <a:r>
              <a:rPr lang="pt-BR" sz="3200" dirty="0">
                <a:effectLst/>
                <a:latin typeface="+mn-lt"/>
                <a:ea typeface="Times New Roman" panose="02020603050405020304" pitchFamily="18" charset="0"/>
              </a:rPr>
              <a:t> ......... </a:t>
            </a:r>
            <a:r>
              <a:rPr lang="pt-BR" sz="3100" dirty="0">
                <a:effectLst/>
                <a:latin typeface="+mn-lt"/>
                <a:ea typeface="Times New Roman" panose="02020603050405020304" pitchFamily="18" charset="0"/>
              </a:rPr>
              <a:t>Conhecimento sobre como mudar</a:t>
            </a:r>
          </a:p>
          <a:p>
            <a:endParaRPr lang="pt-BR" sz="16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effectLst/>
                <a:latin typeface="+mn-lt"/>
                <a:ea typeface="Times New Roman" panose="02020603050405020304" pitchFamily="18" charset="0"/>
              </a:rPr>
              <a:t>Representa o treinamento, as instruções necessários para saber como mudar. O conhecimento contempla: comportamentos , ferramentas , processos , sistema e ferramentas.</a:t>
            </a: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8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  <a:ea typeface="Times New Roman" panose="02020603050405020304" pitchFamily="18" charset="0"/>
              </a:rPr>
              <a:t>Fatores influenciam: base atual do conhecimento, a capacidade para adquirir conhecimento, os recursos disponíveis e o acesso aos conhecimentos;</a:t>
            </a:r>
            <a:endParaRPr lang="pt-BR" sz="2800" dirty="0">
              <a:effectLst/>
              <a:latin typeface="+mn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596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169368" y="1831132"/>
            <a:ext cx="10729192" cy="50686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4500" i="1" dirty="0"/>
          </a:p>
          <a:p>
            <a:endParaRPr lang="pt-BR" sz="4500" i="1" dirty="0"/>
          </a:p>
          <a:p>
            <a:pPr algn="just">
              <a:lnSpc>
                <a:spcPct val="150000"/>
              </a:lnSpc>
              <a:spcBef>
                <a:spcPts val="1350"/>
              </a:spcBef>
              <a:spcAft>
                <a:spcPts val="675"/>
              </a:spcAft>
              <a:buClr>
                <a:schemeClr val="tx1"/>
              </a:buClr>
              <a:buSzPct val="80000"/>
              <a:defRPr/>
            </a:pPr>
            <a:r>
              <a:rPr lang="pt-BR" sz="4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Embora ninguém possa voltar atrás e fazer um novo começo, qualquer um pode começar agora e fazer um novo fim.”</a:t>
            </a:r>
          </a:p>
          <a:p>
            <a:pPr algn="r">
              <a:lnSpc>
                <a:spcPct val="150000"/>
              </a:lnSpc>
              <a:spcBef>
                <a:spcPts val="1350"/>
              </a:spcBef>
              <a:spcAft>
                <a:spcPts val="675"/>
              </a:spcAft>
              <a:buClr>
                <a:schemeClr val="tx1"/>
              </a:buClr>
              <a:buSzPct val="80000"/>
              <a:defRPr/>
            </a:pPr>
            <a:r>
              <a:rPr lang="pt-BR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hico Xavier</a:t>
            </a:r>
          </a:p>
        </p:txBody>
      </p:sp>
    </p:spTree>
    <p:extLst>
      <p:ext uri="{BB962C8B-B14F-4D97-AF65-F5344CB8AC3E}">
        <p14:creationId xmlns:p14="http://schemas.microsoft.com/office/powerpoint/2010/main" val="4148919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-1381694" y="3590678"/>
            <a:ext cx="10783491" cy="1285875"/>
          </a:xfrm>
        </p:spPr>
        <p:txBody>
          <a:bodyPr>
            <a:normAutofit/>
          </a:bodyPr>
          <a:lstStyle/>
          <a:p>
            <a:r>
              <a:rPr lang="pt-BR" sz="2475" dirty="0">
                <a:hlinkClick r:id="rId2"/>
              </a:rPr>
              <a:t>solangepose@uol.com.br</a:t>
            </a:r>
            <a:br>
              <a:rPr lang="pt-BR" sz="2475" dirty="0"/>
            </a:br>
            <a:r>
              <a:rPr lang="pt-BR" sz="2475" b="1" dirty="0">
                <a:solidFill>
                  <a:srgbClr val="002060"/>
                </a:solidFill>
              </a:rPr>
              <a:t>21 988010377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/>
          <a:srcRect l="730" t="8266" r="93149" b="82863"/>
          <a:stretch/>
        </p:blipFill>
        <p:spPr>
          <a:xfrm>
            <a:off x="8373300" y="3629933"/>
            <a:ext cx="1028497" cy="838034"/>
          </a:xfrm>
          <a:prstGeom prst="rect">
            <a:avLst/>
          </a:prstGeom>
        </p:spPr>
      </p:pic>
      <p:sp>
        <p:nvSpPr>
          <p:cNvPr id="4" name="Retângulo 3"/>
          <p:cNvSpPr/>
          <p:nvPr/>
        </p:nvSpPr>
        <p:spPr>
          <a:xfrm>
            <a:off x="9216491" y="4048950"/>
            <a:ext cx="1620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rgbClr val="002060"/>
                </a:solidFill>
              </a:rPr>
              <a:t>Solange Pos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03960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de cantos arredondados 5"/>
          <p:cNvSpPr/>
          <p:nvPr/>
        </p:nvSpPr>
        <p:spPr>
          <a:xfrm>
            <a:off x="465338" y="658538"/>
            <a:ext cx="1136121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2024: prioridades em gestão de talentos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1F182835-BB85-E0C9-91D8-B3D5C6D3991D}"/>
              </a:ext>
            </a:extLst>
          </p:cNvPr>
          <p:cNvSpPr/>
          <p:nvPr/>
        </p:nvSpPr>
        <p:spPr>
          <a:xfrm>
            <a:off x="617738" y="1111052"/>
            <a:ext cx="12049547" cy="1211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457200" indent="-457200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6 Tendências</a:t>
            </a:r>
            <a:endParaRPr lang="pt-BR" sz="1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tângulo: Cantos Diagonais Arredondados 2">
            <a:extLst>
              <a:ext uri="{FF2B5EF4-FFF2-40B4-BE49-F238E27FC236}">
                <a16:creationId xmlns:a16="http://schemas.microsoft.com/office/drawing/2014/main" id="{B7DB51CF-5971-E60A-CC2B-A82E25FA5EF5}"/>
              </a:ext>
            </a:extLst>
          </p:cNvPr>
          <p:cNvSpPr/>
          <p:nvPr/>
        </p:nvSpPr>
        <p:spPr>
          <a:xfrm>
            <a:off x="1169368" y="2724422"/>
            <a:ext cx="10657184" cy="1050926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4350" indent="-514350">
              <a:buAutoNum type="arabicPeriod"/>
            </a:pPr>
            <a:r>
              <a:rPr lang="pt-BR" sz="2800" dirty="0">
                <a:solidFill>
                  <a:schemeClr val="tx1"/>
                </a:solidFill>
              </a:rPr>
              <a:t>IA e os recrutadores</a:t>
            </a:r>
          </a:p>
        </p:txBody>
      </p:sp>
      <p:sp>
        <p:nvSpPr>
          <p:cNvPr id="13" name="Retângulo: Cantos Diagonais Arredondados 12">
            <a:extLst>
              <a:ext uri="{FF2B5EF4-FFF2-40B4-BE49-F238E27FC236}">
                <a16:creationId xmlns:a16="http://schemas.microsoft.com/office/drawing/2014/main" id="{6735A795-E630-51F8-4534-14503EA1432C}"/>
              </a:ext>
            </a:extLst>
          </p:cNvPr>
          <p:cNvSpPr/>
          <p:nvPr/>
        </p:nvSpPr>
        <p:spPr>
          <a:xfrm>
            <a:off x="1169368" y="4038923"/>
            <a:ext cx="10657184" cy="1050926"/>
          </a:xfrm>
          <a:prstGeom prst="round2DiagRect">
            <a:avLst/>
          </a:prstGeom>
          <a:solidFill>
            <a:srgbClr val="69AD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800" dirty="0"/>
              <a:t>2. IA e os candidatos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AA286094-1FF8-39EE-9C51-2E355DEFF3E0}"/>
              </a:ext>
            </a:extLst>
          </p:cNvPr>
          <p:cNvSpPr/>
          <p:nvPr/>
        </p:nvSpPr>
        <p:spPr>
          <a:xfrm>
            <a:off x="8010128" y="9680004"/>
            <a:ext cx="6858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i="1" dirty="0">
                <a:latin typeface="+mn-lt"/>
              </a:rPr>
              <a:t>Fonte: </a:t>
            </a:r>
            <a:r>
              <a:rPr lang="pt-BR" i="1" dirty="0" err="1">
                <a:latin typeface="+mn-lt"/>
              </a:rPr>
              <a:t>Talent</a:t>
            </a:r>
            <a:r>
              <a:rPr lang="pt-BR" i="1" dirty="0">
                <a:latin typeface="+mn-lt"/>
              </a:rPr>
              <a:t> </a:t>
            </a:r>
            <a:r>
              <a:rPr lang="pt-BR" i="1" dirty="0" err="1">
                <a:latin typeface="+mn-lt"/>
              </a:rPr>
              <a:t>Acquisition</a:t>
            </a:r>
            <a:r>
              <a:rPr lang="pt-BR" i="1" dirty="0">
                <a:latin typeface="+mn-lt"/>
              </a:rPr>
              <a:t> </a:t>
            </a:r>
            <a:r>
              <a:rPr lang="pt-BR" i="1" dirty="0" err="1">
                <a:latin typeface="+mn-lt"/>
              </a:rPr>
              <a:t>Trends</a:t>
            </a:r>
            <a:r>
              <a:rPr lang="pt-BR" i="1" dirty="0">
                <a:latin typeface="+mn-lt"/>
              </a:rPr>
              <a:t> Report, 2024.</a:t>
            </a:r>
          </a:p>
        </p:txBody>
      </p:sp>
      <p:sp>
        <p:nvSpPr>
          <p:cNvPr id="4" name="Retângulo: Cantos Diagonais Arredondados 3">
            <a:extLst>
              <a:ext uri="{FF2B5EF4-FFF2-40B4-BE49-F238E27FC236}">
                <a16:creationId xmlns:a16="http://schemas.microsoft.com/office/drawing/2014/main" id="{80AB25DC-B8E3-4777-6FAD-A83F3F476D6E}"/>
              </a:ext>
            </a:extLst>
          </p:cNvPr>
          <p:cNvSpPr/>
          <p:nvPr/>
        </p:nvSpPr>
        <p:spPr>
          <a:xfrm>
            <a:off x="1131893" y="5353424"/>
            <a:ext cx="10657184" cy="252028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800" dirty="0">
                <a:solidFill>
                  <a:schemeClr val="tx1"/>
                </a:solidFill>
              </a:rPr>
              <a:t>3.  Contratação de profissionais de início de carreira: contratações no ensino médio técnico e no nível universitário trazendo profissionais com salários mais baixos e com novas ideias. Ampliando a busca em todas as universidades (DE&amp;I). Os processos seletivos não só valorizando os títulos acadêmicos, mas as competências.</a:t>
            </a:r>
          </a:p>
        </p:txBody>
      </p:sp>
    </p:spTree>
    <p:extLst>
      <p:ext uri="{BB962C8B-B14F-4D97-AF65-F5344CB8AC3E}">
        <p14:creationId xmlns:p14="http://schemas.microsoft.com/office/powerpoint/2010/main" val="2177433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de cantos arredondados 5"/>
          <p:cNvSpPr/>
          <p:nvPr/>
        </p:nvSpPr>
        <p:spPr>
          <a:xfrm>
            <a:off x="465338" y="658538"/>
            <a:ext cx="1136121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2024: prioridades gestão de talentos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1F182835-BB85-E0C9-91D8-B3D5C6D3991D}"/>
              </a:ext>
            </a:extLst>
          </p:cNvPr>
          <p:cNvSpPr/>
          <p:nvPr/>
        </p:nvSpPr>
        <p:spPr>
          <a:xfrm>
            <a:off x="617738" y="1111052"/>
            <a:ext cx="12049547" cy="1211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457200" indent="-457200" algn="just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6 Tendências </a:t>
            </a:r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pt-BR" sz="1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tângulo: Cantos Diagonais Arredondados 12">
            <a:extLst>
              <a:ext uri="{FF2B5EF4-FFF2-40B4-BE49-F238E27FC236}">
                <a16:creationId xmlns:a16="http://schemas.microsoft.com/office/drawing/2014/main" id="{6735A795-E630-51F8-4534-14503EA1432C}"/>
              </a:ext>
            </a:extLst>
          </p:cNvPr>
          <p:cNvSpPr/>
          <p:nvPr/>
        </p:nvSpPr>
        <p:spPr>
          <a:xfrm>
            <a:off x="1169368" y="2623220"/>
            <a:ext cx="10657184" cy="3088977"/>
          </a:xfrm>
          <a:prstGeom prst="round2DiagRect">
            <a:avLst/>
          </a:prstGeom>
          <a:solidFill>
            <a:srgbClr val="69AD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800" dirty="0"/>
              <a:t>4.  Contratação de habilidades: não é onde você esteve é o que você sabe e o que pode fazer. Ampliar mais do que a formação ou não. Escolher não só profissionais para as  competências atuais e sim as futuras . Contratar temporários que tragam competências  para momentos de crescimento e de mudanças.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4361D4F-89B2-9A4C-C2DD-89CBBDE809AF}"/>
              </a:ext>
            </a:extLst>
          </p:cNvPr>
          <p:cNvSpPr/>
          <p:nvPr/>
        </p:nvSpPr>
        <p:spPr>
          <a:xfrm>
            <a:off x="8010128" y="9680004"/>
            <a:ext cx="6858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i="1" dirty="0">
                <a:latin typeface="+mn-lt"/>
              </a:rPr>
              <a:t>Fonte: </a:t>
            </a:r>
            <a:r>
              <a:rPr lang="pt-BR" i="1" dirty="0" err="1">
                <a:latin typeface="+mn-lt"/>
              </a:rPr>
              <a:t>Talent</a:t>
            </a:r>
            <a:r>
              <a:rPr lang="pt-BR" i="1" dirty="0">
                <a:latin typeface="+mn-lt"/>
              </a:rPr>
              <a:t> </a:t>
            </a:r>
            <a:r>
              <a:rPr lang="pt-BR" i="1" dirty="0" err="1">
                <a:latin typeface="+mn-lt"/>
              </a:rPr>
              <a:t>Acquisition</a:t>
            </a:r>
            <a:r>
              <a:rPr lang="pt-BR" i="1" dirty="0">
                <a:latin typeface="+mn-lt"/>
              </a:rPr>
              <a:t> </a:t>
            </a:r>
            <a:r>
              <a:rPr lang="pt-BR" i="1" dirty="0" err="1">
                <a:latin typeface="+mn-lt"/>
              </a:rPr>
              <a:t>Trends</a:t>
            </a:r>
            <a:r>
              <a:rPr lang="pt-BR" i="1" dirty="0">
                <a:latin typeface="+mn-lt"/>
              </a:rPr>
              <a:t> Report, 2024.</a:t>
            </a:r>
          </a:p>
        </p:txBody>
      </p:sp>
      <p:sp>
        <p:nvSpPr>
          <p:cNvPr id="4" name="Retângulo: Cantos Diagonais Arredondados 3">
            <a:extLst>
              <a:ext uri="{FF2B5EF4-FFF2-40B4-BE49-F238E27FC236}">
                <a16:creationId xmlns:a16="http://schemas.microsoft.com/office/drawing/2014/main" id="{29B09FFC-AE06-00AD-5E85-A59C1BB7B8EC}"/>
              </a:ext>
            </a:extLst>
          </p:cNvPr>
          <p:cNvSpPr/>
          <p:nvPr/>
        </p:nvSpPr>
        <p:spPr>
          <a:xfrm>
            <a:off x="1186244" y="6013328"/>
            <a:ext cx="10657184" cy="978918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800" dirty="0">
                <a:solidFill>
                  <a:schemeClr val="tx1"/>
                </a:solidFill>
              </a:rPr>
              <a:t>5. Empatia recupera a importância: liderança empática</a:t>
            </a:r>
          </a:p>
        </p:txBody>
      </p:sp>
      <p:sp>
        <p:nvSpPr>
          <p:cNvPr id="7" name="Retângulo: Cantos Diagonais Arredondados 6">
            <a:extLst>
              <a:ext uri="{FF2B5EF4-FFF2-40B4-BE49-F238E27FC236}">
                <a16:creationId xmlns:a16="http://schemas.microsoft.com/office/drawing/2014/main" id="{064FF5AE-FACC-07C9-DA30-DEEEC740A946}"/>
              </a:ext>
            </a:extLst>
          </p:cNvPr>
          <p:cNvSpPr/>
          <p:nvPr/>
        </p:nvSpPr>
        <p:spPr>
          <a:xfrm>
            <a:off x="1205234" y="7293377"/>
            <a:ext cx="10657184" cy="1296145"/>
          </a:xfrm>
          <a:prstGeom prst="round2DiagRect">
            <a:avLst/>
          </a:prstGeom>
          <a:solidFill>
            <a:srgbClr val="69AD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800" dirty="0"/>
              <a:t>6.  Mudar ou ressignificar: mudança no formato de trabalho remoto, híbrido e o presencial. Movimento para o presencial.</a:t>
            </a:r>
          </a:p>
        </p:txBody>
      </p:sp>
    </p:spTree>
    <p:extLst>
      <p:ext uri="{BB962C8B-B14F-4D97-AF65-F5344CB8AC3E}">
        <p14:creationId xmlns:p14="http://schemas.microsoft.com/office/powerpoint/2010/main" val="374278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4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9145016" y="9680004"/>
            <a:ext cx="6858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i="1" dirty="0">
                <a:latin typeface="+mn-lt"/>
              </a:rPr>
              <a:t>Fonte: </a:t>
            </a:r>
            <a:r>
              <a:rPr lang="pt-BR" i="1" dirty="0" err="1">
                <a:latin typeface="+mn-lt"/>
              </a:rPr>
              <a:t>McKinsey@Company</a:t>
            </a:r>
            <a:r>
              <a:rPr lang="pt-BR" i="1" dirty="0">
                <a:latin typeface="+mn-lt"/>
              </a:rPr>
              <a:t> , out/2023;</a:t>
            </a:r>
          </a:p>
        </p:txBody>
      </p:sp>
      <p:sp>
        <p:nvSpPr>
          <p:cNvPr id="6" name="Retângulo de cantos arredondados 5"/>
          <p:cNvSpPr/>
          <p:nvPr/>
        </p:nvSpPr>
        <p:spPr>
          <a:xfrm>
            <a:off x="465338" y="658538"/>
            <a:ext cx="1136121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10 macrotendências: moldando as organizações brasileiras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D1C427C-925D-E735-67CD-B6FF900EE7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726" t="21067" r="13775" b="5466"/>
          <a:stretch/>
        </p:blipFill>
        <p:spPr>
          <a:xfrm>
            <a:off x="670677" y="2117276"/>
            <a:ext cx="11617956" cy="6532262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A8BEDA85-8430-BAE8-CC72-8E0B2B2C87EE}"/>
              </a:ext>
            </a:extLst>
          </p:cNvPr>
          <p:cNvSpPr txBox="1"/>
          <p:nvPr/>
        </p:nvSpPr>
        <p:spPr>
          <a:xfrm>
            <a:off x="696410" y="8815908"/>
            <a:ext cx="11706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i="1" dirty="0">
                <a:latin typeface="+mn-lt"/>
              </a:rPr>
              <a:t>Em outubro de 2023, a McKinsey entrevistou mais de 350 lideranças de organizações de médio e grande portes, compreendendo 14 indústrias e todas as regiões brasileiras, com objetivo de identificar as principais mudanças organizacionais que as empresas nacionais estão enfrentando, os desafios embutidos e como as organizações estão reagindo a elas. Nossa pesquisa complementa um panorama global que entrevistou 2.500+ líderes e foi desenvolvida pela prática de Pessoas, Organização e Performance da McKinsey.</a:t>
            </a:r>
          </a:p>
        </p:txBody>
      </p:sp>
    </p:spTree>
    <p:extLst>
      <p:ext uri="{BB962C8B-B14F-4D97-AF65-F5344CB8AC3E}">
        <p14:creationId xmlns:p14="http://schemas.microsoft.com/office/powerpoint/2010/main" val="628665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1"/>
          <p:cNvSpPr txBox="1">
            <a:spLocks/>
          </p:cNvSpPr>
          <p:nvPr/>
        </p:nvSpPr>
        <p:spPr>
          <a:xfrm>
            <a:off x="377280" y="751012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etáfora do jardineiro </a:t>
            </a:r>
            <a:endParaRPr lang="pt-BR" sz="2800" dirty="0">
              <a:solidFill>
                <a:srgbClr val="69ADE7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104" y="2972900"/>
            <a:ext cx="5177912" cy="3451941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367826" y="2839244"/>
            <a:ext cx="7044835" cy="7171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Pense na organização como um jardim. Todo jardim tem um propósito;</a:t>
            </a: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No jardim, existem diferentes plantas crescendo, mas juntas, todas essas plantas estão cumprindo o propósito do jardim. </a:t>
            </a: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Cada planta precisa de coisas diferentes, quem garante que cada planta receba o que precisa é o jardineiro; </a:t>
            </a: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O jardineiro  tem o papel de cuidar e compreender as necessidades de cada planta única e criar os pré-requisitos certos para o desenvolvimento, sem se esquecer de todo o jardim. </a:t>
            </a: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403985" y="9607996"/>
            <a:ext cx="4608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Fonte: Pia-Maria </a:t>
            </a:r>
            <a:r>
              <a:rPr lang="pt-BR" i="1" dirty="0" err="1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Thorén</a:t>
            </a:r>
            <a:r>
              <a:rPr lang="pt-BR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78981B78-4F01-044D-7B76-1F0AF3AAC587}"/>
              </a:ext>
            </a:extLst>
          </p:cNvPr>
          <p:cNvSpPr/>
          <p:nvPr/>
        </p:nvSpPr>
        <p:spPr>
          <a:xfrm>
            <a:off x="9850723" y="6727676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7801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1"/>
          <p:cNvSpPr txBox="1">
            <a:spLocks/>
          </p:cNvSpPr>
          <p:nvPr/>
        </p:nvSpPr>
        <p:spPr>
          <a:xfrm>
            <a:off x="377280" y="751012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etáfora do jardineiro</a:t>
            </a:r>
            <a:endParaRPr lang="pt-BR" sz="2800" dirty="0">
              <a:solidFill>
                <a:srgbClr val="69ADE7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67" y="2700219"/>
            <a:ext cx="5724637" cy="3816424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6419320" y="2500161"/>
            <a:ext cx="6048672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O solo é como a cultura de uma empresa - se não for adequado para as plantas, elas não crescerão também. </a:t>
            </a: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Não podemos forçar a sementinha a crescer, podemos dar os pré-requisitos certos e o ambiente certo.</a:t>
            </a:r>
          </a:p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400" dirty="0">
              <a:latin typeface="+mj-lt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403985" y="9607996"/>
            <a:ext cx="4608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Fonte: Pia-Maria </a:t>
            </a:r>
            <a:r>
              <a:rPr lang="pt-BR" i="1" dirty="0" err="1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Thorén</a:t>
            </a:r>
            <a:r>
              <a:rPr lang="pt-BR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7B8DE488-8687-8F20-1123-E6A449FDE629}"/>
              </a:ext>
            </a:extLst>
          </p:cNvPr>
          <p:cNvSpPr/>
          <p:nvPr/>
        </p:nvSpPr>
        <p:spPr>
          <a:xfrm>
            <a:off x="2969568" y="6516643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21258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1"/>
          <p:cNvSpPr txBox="1">
            <a:spLocks/>
          </p:cNvSpPr>
          <p:nvPr/>
        </p:nvSpPr>
        <p:spPr>
          <a:xfrm>
            <a:off x="377280" y="751012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etáfora do jardineiro</a:t>
            </a:r>
            <a:endParaRPr lang="pt-BR" sz="2800" dirty="0">
              <a:solidFill>
                <a:srgbClr val="69ADE7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640" y="2191172"/>
            <a:ext cx="4590509" cy="3060339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524092" y="6655668"/>
            <a:ext cx="11302460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000" dirty="0">
              <a:latin typeface="+mj-lt"/>
            </a:endParaRPr>
          </a:p>
          <a:p>
            <a:pPr marL="457200" indent="-4572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Precisamos descobrir o porquê e tentar mudar as condições, talvez plantá-la em outra parte do jardim onde as condições sejam mais adequadas para esse tipo de planta; </a:t>
            </a:r>
          </a:p>
          <a:p>
            <a:pPr marL="457200" indent="-4572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2600" dirty="0">
              <a:latin typeface="+mj-lt"/>
            </a:endParaRPr>
          </a:p>
          <a:p>
            <a:pPr marL="457200" indent="-4572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j-lt"/>
              </a:rPr>
              <a:t>Se nada ajudar, temos que ajudar a plantar em outro jardim. Existem sementes que nunca crescerão, independentemente do que façamos.</a:t>
            </a:r>
          </a:p>
          <a:p>
            <a:pPr algn="just"/>
            <a:endParaRPr lang="pt-BR" sz="2000" dirty="0">
              <a:latin typeface="+mj-lt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8097" y="6043600"/>
            <a:ext cx="98488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2800" dirty="0">
                <a:latin typeface="+mn-lt"/>
              </a:rPr>
              <a:t>E se não crescer, precisamos lidar com isso; </a:t>
            </a:r>
          </a:p>
        </p:txBody>
      </p:sp>
      <p:sp>
        <p:nvSpPr>
          <p:cNvPr id="7" name="Retângulo 6"/>
          <p:cNvSpPr/>
          <p:nvPr/>
        </p:nvSpPr>
        <p:spPr>
          <a:xfrm>
            <a:off x="10420057" y="9822282"/>
            <a:ext cx="4608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Fonte: Pia-Maria </a:t>
            </a:r>
            <a:r>
              <a:rPr lang="pt-BR" i="1" dirty="0" err="1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Thorén</a:t>
            </a:r>
            <a:r>
              <a:rPr lang="pt-BR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D2D2920-2B25-20DE-9237-ECE057E169A6}"/>
              </a:ext>
            </a:extLst>
          </p:cNvPr>
          <p:cNvSpPr/>
          <p:nvPr/>
        </p:nvSpPr>
        <p:spPr>
          <a:xfrm>
            <a:off x="5389866" y="5284684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9851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1"/>
          <p:cNvSpPr txBox="1"/>
          <p:nvPr/>
        </p:nvSpPr>
        <p:spPr>
          <a:xfrm>
            <a:off x="1892804" y="4199489"/>
            <a:ext cx="2398605" cy="110799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pt-BR" sz="3600" spc="6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ecompensa</a:t>
            </a:r>
          </a:p>
          <a:p>
            <a:r>
              <a:rPr lang="pt-BR" sz="3600" spc="6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xtrínseca</a:t>
            </a:r>
            <a:endParaRPr sz="36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8897821" y="4145965"/>
            <a:ext cx="2660723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pt-BR" sz="3600" spc="6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ecompensa Intrínseca </a:t>
            </a:r>
            <a:endParaRPr lang="pt-BR" sz="36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7466379" y="3697407"/>
            <a:ext cx="65" cy="47705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endParaRPr sz="31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9372600" y="8641080"/>
            <a:ext cx="4108112" cy="1706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9" spc="6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Dan Pink; Drive: The Surprising Truth about What Motivates Us</a:t>
            </a:r>
            <a:endParaRPr sz="107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Diferente de 9"/>
          <p:cNvSpPr/>
          <p:nvPr/>
        </p:nvSpPr>
        <p:spPr>
          <a:xfrm>
            <a:off x="4898000" y="3214294"/>
            <a:ext cx="3155001" cy="3246075"/>
          </a:xfrm>
          <a:prstGeom prst="mathNotEqual">
            <a:avLst/>
          </a:prstGeom>
          <a:solidFill>
            <a:srgbClr val="69AD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1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-2736346" y="928386"/>
            <a:ext cx="12096750" cy="1371600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pt-BR" sz="4100" b="1" dirty="0">
                <a:solidFill>
                  <a:srgbClr val="69ADE7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otivação 3.0</a:t>
            </a:r>
          </a:p>
        </p:txBody>
      </p:sp>
    </p:spTree>
    <p:extLst>
      <p:ext uri="{BB962C8B-B14F-4D97-AF65-F5344CB8AC3E}">
        <p14:creationId xmlns:p14="http://schemas.microsoft.com/office/powerpoint/2010/main" val="239792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8"/>
          <p:cNvSpPr txBox="1">
            <a:spLocks/>
          </p:cNvSpPr>
          <p:nvPr/>
        </p:nvSpPr>
        <p:spPr>
          <a:xfrm>
            <a:off x="532799" y="1471092"/>
            <a:ext cx="12025336" cy="4392488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endParaRPr lang="pt-BR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pt-PT" sz="3100" dirty="0">
                <a:cs typeface="Arial" panose="020B0604020202020204" pitchFamily="34" charset="0"/>
              </a:rPr>
              <a:t>Conceito de cultura organizacional. Formação e desenvolvimento da cultura. Impactos da cultura nos resultados da empresa. Cultura, estratégia e modelos de gestão. Clima organizacional. Diagnóstico e mudança cultural. Metodologias de gestão da mudança.</a:t>
            </a:r>
            <a:endParaRPr lang="pt-BR" sz="3100" dirty="0">
              <a:cs typeface="Arial" panose="020B0604020202020204" pitchFamily="34" charset="0"/>
            </a:endParaRPr>
          </a:p>
          <a:p>
            <a:pPr marL="0" indent="0" algn="just" fontAlgn="auto">
              <a:spcAft>
                <a:spcPts val="0"/>
              </a:spcAft>
              <a:buFont typeface="Arial" panose="020B0604020202020204" pitchFamily="34" charset="0"/>
              <a:buNone/>
            </a:pPr>
            <a:endParaRPr lang="pt-BR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Espaço Reservado para Texto 5"/>
          <p:cNvSpPr txBox="1">
            <a:spLocks/>
          </p:cNvSpPr>
          <p:nvPr/>
        </p:nvSpPr>
        <p:spPr>
          <a:xfrm>
            <a:off x="532799" y="833241"/>
            <a:ext cx="3222848" cy="648071"/>
          </a:xfrm>
          <a:prstGeom prst="rect">
            <a:avLst/>
          </a:prstGeom>
        </p:spPr>
        <p:txBody>
          <a:bodyPr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pt-BR" sz="4050" b="1" dirty="0">
                <a:solidFill>
                  <a:srgbClr val="69ADE7"/>
                </a:solidFill>
                <a:latin typeface="+mj-lt"/>
                <a:cs typeface="Arial" panose="020B0604020202020204" pitchFamily="34" charset="0"/>
              </a:rPr>
              <a:t>Ementa </a:t>
            </a:r>
          </a:p>
        </p:txBody>
      </p:sp>
    </p:spTree>
    <p:extLst>
      <p:ext uri="{BB962C8B-B14F-4D97-AF65-F5344CB8AC3E}">
        <p14:creationId xmlns:p14="http://schemas.microsoft.com/office/powerpoint/2010/main" val="40796797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21EF3C60-4AA2-B89D-1337-A76E6668E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3060"/>
            <a:ext cx="13186603" cy="6120680"/>
          </a:xfrm>
          <a:prstGeom prst="rect">
            <a:avLst/>
          </a:prstGeom>
        </p:spPr>
      </p:pic>
      <p:sp>
        <p:nvSpPr>
          <p:cNvPr id="27" name="Espaço Reservado para Texto 1">
            <a:extLst>
              <a:ext uri="{FF2B5EF4-FFF2-40B4-BE49-F238E27FC236}">
                <a16:creationId xmlns:a16="http://schemas.microsoft.com/office/drawing/2014/main" id="{697BB37E-CED0-C9CC-125D-38FE2A9538A2}"/>
              </a:ext>
            </a:extLst>
          </p:cNvPr>
          <p:cNvSpPr txBox="1">
            <a:spLocks/>
          </p:cNvSpPr>
          <p:nvPr/>
        </p:nvSpPr>
        <p:spPr>
          <a:xfrm>
            <a:off x="305272" y="606996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tivação 3.0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0F997DB5-CD8C-FC11-7D72-8426A30D0103}"/>
              </a:ext>
            </a:extLst>
          </p:cNvPr>
          <p:cNvSpPr/>
          <p:nvPr/>
        </p:nvSpPr>
        <p:spPr>
          <a:xfrm>
            <a:off x="491244" y="7907973"/>
            <a:ext cx="4818414" cy="239050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69ADE7"/>
              </a:buClr>
            </a:pPr>
            <a:r>
              <a:rPr lang="pt-BR" sz="2400" i="1" dirty="0">
                <a:solidFill>
                  <a:srgbClr val="202124"/>
                </a:solidFill>
                <a:latin typeface="+mj-lt"/>
                <a:cs typeface="Arial" panose="020B0604020202020204" pitchFamily="34" charset="0"/>
              </a:rPr>
              <a:t>“Melhorar é essencial nos esportes. O seu adversário também tem esta postura. Precisamos sempre fazer o melhor.”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D2DEE368-2A8F-DE71-19D6-19623076E9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0901" y="8239844"/>
            <a:ext cx="1370444" cy="172675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DF2F346D-1AED-A448-3FA7-5FD86FCCB174}"/>
              </a:ext>
            </a:extLst>
          </p:cNvPr>
          <p:cNvSpPr txBox="1"/>
          <p:nvPr/>
        </p:nvSpPr>
        <p:spPr>
          <a:xfrm>
            <a:off x="7701395" y="8438162"/>
            <a:ext cx="495515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i="1" dirty="0">
                <a:solidFill>
                  <a:srgbClr val="202124"/>
                </a:solidFill>
                <a:latin typeface="+mj-lt"/>
                <a:cs typeface="Arial" panose="020B0604020202020204" pitchFamily="34" charset="0"/>
              </a:rPr>
              <a:t>“</a:t>
            </a:r>
            <a:r>
              <a:rPr lang="pt-BR" sz="2400" i="1" dirty="0">
                <a:solidFill>
                  <a:srgbClr val="202124"/>
                </a:solidFill>
                <a:latin typeface="+mj-lt"/>
                <a:cs typeface="Arial" panose="020B0604020202020204" pitchFamily="34" charset="0"/>
              </a:rPr>
              <a:t>Eu sou a minha carreira porque estou fazendo o que eu gosto.”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AD12BE9C-1F79-DBE0-943D-8BBACAF397CF}"/>
              </a:ext>
            </a:extLst>
          </p:cNvPr>
          <p:cNvSpPr txBox="1"/>
          <p:nvPr/>
        </p:nvSpPr>
        <p:spPr>
          <a:xfrm>
            <a:off x="5777880" y="7757764"/>
            <a:ext cx="49551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i="1" dirty="0">
                <a:solidFill>
                  <a:srgbClr val="202124"/>
                </a:solidFill>
                <a:latin typeface="+mj-lt"/>
                <a:cs typeface="Arial" panose="020B0604020202020204" pitchFamily="34" charset="0"/>
              </a:rPr>
              <a:t>Pep Guardiola</a:t>
            </a:r>
            <a:endParaRPr lang="pt-BR" sz="2400" i="1" dirty="0">
              <a:solidFill>
                <a:srgbClr val="202124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180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8" grpId="1"/>
      <p:bldP spid="31" grpId="0"/>
      <p:bldP spid="3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9034" y="3199284"/>
            <a:ext cx="3137604" cy="17570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Retângulo 13"/>
          <p:cNvSpPr/>
          <p:nvPr/>
        </p:nvSpPr>
        <p:spPr>
          <a:xfrm>
            <a:off x="4934049" y="2906349"/>
            <a:ext cx="7472917" cy="460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69ADE7"/>
              </a:buClr>
            </a:pPr>
            <a:r>
              <a:rPr lang="pt-BR" sz="3200" i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Ninguém fica num local apenas por causa do salário, mas sua permanência é também pela capacidade de enxergar a finalidade do que faz do reconhecimento que obtém do bem-estar que sente quando seu trabalho é valorizado e se percebe ali a possibilidade de futuro conjunto. </a:t>
            </a:r>
          </a:p>
          <a:p>
            <a:pPr algn="just">
              <a:buClr>
                <a:srgbClr val="69ADE7"/>
              </a:buClr>
            </a:pPr>
            <a:endParaRPr lang="pt-BR" sz="2250" i="1" dirty="0">
              <a:solidFill>
                <a:schemeClr val="tx1">
                  <a:lumMod val="95000"/>
                  <a:lumOff val="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>
              <a:buClr>
                <a:srgbClr val="69ADE7"/>
              </a:buClr>
            </a:pPr>
            <a:r>
              <a:rPr lang="pt-BR" sz="2400" i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ario Sergio </a:t>
            </a:r>
            <a:r>
              <a:rPr lang="pt-BR" sz="2400" i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ortella</a:t>
            </a:r>
            <a:r>
              <a:rPr lang="pt-BR" sz="2400" i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just">
              <a:buClr>
                <a:srgbClr val="69ADE7"/>
              </a:buClr>
            </a:pPr>
            <a:endParaRPr lang="pt-BR" sz="2250" dirty="0">
              <a:solidFill>
                <a:schemeClr val="tx1">
                  <a:lumMod val="95000"/>
                  <a:lumOff val="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589707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FEFE79C2-953D-4688-99D8-18B39B3AC7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12" y="5336068"/>
            <a:ext cx="2300417" cy="230041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6D40B5F3-850C-45CD-84FF-92F6B7442C94}"/>
              </a:ext>
            </a:extLst>
          </p:cNvPr>
          <p:cNvSpPr/>
          <p:nvPr/>
        </p:nvSpPr>
        <p:spPr>
          <a:xfrm>
            <a:off x="936055" y="1175647"/>
            <a:ext cx="11509037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pt-BR" sz="2400" i="1" dirty="0">
                <a:latin typeface="+mn-lt"/>
              </a:rPr>
              <a:t>Moving Motivators </a:t>
            </a:r>
            <a:r>
              <a:rPr lang="pt-BR" sz="2400" dirty="0">
                <a:latin typeface="+mn-lt"/>
              </a:rPr>
              <a:t>está ligada diretamente aos motivadores intrínsecos. A construção desta ferramenta foi pensada por Jurgen </a:t>
            </a:r>
            <a:r>
              <a:rPr lang="pt-BR" sz="2400" dirty="0" err="1">
                <a:latin typeface="+mn-lt"/>
              </a:rPr>
              <a:t>Appelo</a:t>
            </a:r>
            <a:r>
              <a:rPr lang="pt-BR" sz="2400" dirty="0">
                <a:latin typeface="+mn-lt"/>
              </a:rPr>
              <a:t> justamente para </a:t>
            </a:r>
            <a:r>
              <a:rPr lang="pt-BR" sz="2400" dirty="0">
                <a:solidFill>
                  <a:schemeClr val="bg1"/>
                </a:solidFill>
                <a:highlight>
                  <a:srgbClr val="C63D8B"/>
                </a:highlight>
                <a:latin typeface="+mn-lt"/>
              </a:rPr>
              <a:t>apoiar no autoconhecimento, permitindo que cada pessoa possa identificar quais são os seus motivadores e também identificar quais fatores motivam as demais pessoas do ambiente corporativo</a:t>
            </a:r>
            <a:r>
              <a:rPr lang="pt-BR" sz="2400" dirty="0">
                <a:latin typeface="+mn-lt"/>
              </a:rPr>
              <a:t>.</a:t>
            </a:r>
          </a:p>
          <a:p>
            <a:pPr algn="l"/>
            <a:endParaRPr lang="pt-BR" sz="2400" dirty="0">
              <a:latin typeface="+mn-lt"/>
            </a:endParaRPr>
          </a:p>
          <a:p>
            <a:pPr algn="l"/>
            <a:endParaRPr lang="pt-BR" sz="2400" dirty="0">
              <a:latin typeface="+mn-lt"/>
            </a:endParaRPr>
          </a:p>
          <a:p>
            <a:pPr algn="l"/>
            <a:r>
              <a:rPr lang="pt-BR" sz="2400" dirty="0">
                <a:latin typeface="+mn-lt"/>
              </a:rPr>
              <a:t>Jurgen, criou 10 motivadores e os representou através de cartas. Cabe informar, que </a:t>
            </a:r>
            <a:r>
              <a:rPr lang="pt-BR" sz="2400" dirty="0">
                <a:solidFill>
                  <a:schemeClr val="bg1"/>
                </a:solidFill>
                <a:highlight>
                  <a:srgbClr val="C63D8B"/>
                </a:highlight>
                <a:latin typeface="+mn-lt"/>
              </a:rPr>
              <a:t>cada pessoa, via de regra, possui todos os motivadores em maior ou menor grau. Este grau pode aumentar ou diminuir conforme o nível de autoconhecimento e momento de vida desta pessoa.</a:t>
            </a:r>
          </a:p>
        </p:txBody>
      </p:sp>
      <p:cxnSp>
        <p:nvCxnSpPr>
          <p:cNvPr id="5" name="Conector de Seta Reta 4">
            <a:extLst>
              <a:ext uri="{FF2B5EF4-FFF2-40B4-BE49-F238E27FC236}">
                <a16:creationId xmlns:a16="http://schemas.microsoft.com/office/drawing/2014/main" id="{B24047E5-CE35-44AD-A1B7-A8DBBD70168C}"/>
              </a:ext>
            </a:extLst>
          </p:cNvPr>
          <p:cNvCxnSpPr/>
          <p:nvPr/>
        </p:nvCxnSpPr>
        <p:spPr>
          <a:xfrm>
            <a:off x="2798762" y="6278338"/>
            <a:ext cx="10193979" cy="0"/>
          </a:xfrm>
          <a:prstGeom prst="straightConnector1">
            <a:avLst/>
          </a:prstGeom>
          <a:ln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id="{521391CE-B9FC-4513-AC5B-ACE5422CA3E5}"/>
              </a:ext>
            </a:extLst>
          </p:cNvPr>
          <p:cNvSpPr txBox="1"/>
          <p:nvPr/>
        </p:nvSpPr>
        <p:spPr>
          <a:xfrm>
            <a:off x="2158562" y="5818706"/>
            <a:ext cx="3332332" cy="3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19" dirty="0">
                <a:latin typeface="+mn-lt"/>
              </a:rPr>
              <a:t>MAIS IMPORTANTE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B2BE866-45BB-4B41-A0DD-CEBF60F3D781}"/>
              </a:ext>
            </a:extLst>
          </p:cNvPr>
          <p:cNvSpPr txBox="1"/>
          <p:nvPr/>
        </p:nvSpPr>
        <p:spPr>
          <a:xfrm>
            <a:off x="10199382" y="5778497"/>
            <a:ext cx="3332332" cy="3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19" dirty="0">
                <a:latin typeface="+mn-lt"/>
              </a:rPr>
              <a:t>MENOS IMPORTANTE</a:t>
            </a: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0457B794-D18D-44FE-8987-3043189618EF}"/>
              </a:ext>
            </a:extLst>
          </p:cNvPr>
          <p:cNvSpPr/>
          <p:nvPr/>
        </p:nvSpPr>
        <p:spPr>
          <a:xfrm>
            <a:off x="2798761" y="6508154"/>
            <a:ext cx="1411727" cy="1268756"/>
          </a:xfrm>
          <a:prstGeom prst="roundRect">
            <a:avLst>
              <a:gd name="adj" fmla="val 631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9" dirty="0">
                <a:solidFill>
                  <a:schemeClr val="tx1"/>
                </a:solidFill>
              </a:rPr>
              <a:t>CARTA X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D982F78B-86F5-4850-8B1A-BA52297A4ACC}"/>
              </a:ext>
            </a:extLst>
          </p:cNvPr>
          <p:cNvSpPr/>
          <p:nvPr/>
        </p:nvSpPr>
        <p:spPr>
          <a:xfrm>
            <a:off x="4339075" y="6526742"/>
            <a:ext cx="1411727" cy="1268756"/>
          </a:xfrm>
          <a:prstGeom prst="roundRect">
            <a:avLst>
              <a:gd name="adj" fmla="val 631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9" dirty="0">
                <a:solidFill>
                  <a:schemeClr val="tx1"/>
                </a:solidFill>
              </a:rPr>
              <a:t>CARTA X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D0CC96AD-5955-4F52-BF44-70DD84A4840C}"/>
              </a:ext>
            </a:extLst>
          </p:cNvPr>
          <p:cNvSpPr/>
          <p:nvPr/>
        </p:nvSpPr>
        <p:spPr>
          <a:xfrm>
            <a:off x="5909482" y="6526742"/>
            <a:ext cx="1411727" cy="1268756"/>
          </a:xfrm>
          <a:prstGeom prst="roundRect">
            <a:avLst>
              <a:gd name="adj" fmla="val 631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9" dirty="0">
                <a:solidFill>
                  <a:schemeClr val="tx1"/>
                </a:solidFill>
              </a:rPr>
              <a:t>CARTA X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3501194C-524B-455A-8052-0F4FD65FD812}"/>
              </a:ext>
            </a:extLst>
          </p:cNvPr>
          <p:cNvSpPr/>
          <p:nvPr/>
        </p:nvSpPr>
        <p:spPr>
          <a:xfrm>
            <a:off x="7449796" y="6545332"/>
            <a:ext cx="1411727" cy="1268756"/>
          </a:xfrm>
          <a:prstGeom prst="roundRect">
            <a:avLst>
              <a:gd name="adj" fmla="val 631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9" dirty="0">
                <a:solidFill>
                  <a:schemeClr val="tx1"/>
                </a:solidFill>
              </a:rPr>
              <a:t>CARTA X</a:t>
            </a: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1C710FC8-300E-468B-B99C-E34D86739185}"/>
              </a:ext>
            </a:extLst>
          </p:cNvPr>
          <p:cNvSpPr/>
          <p:nvPr/>
        </p:nvSpPr>
        <p:spPr>
          <a:xfrm>
            <a:off x="11581014" y="6526742"/>
            <a:ext cx="1411727" cy="1268756"/>
          </a:xfrm>
          <a:prstGeom prst="roundRect">
            <a:avLst>
              <a:gd name="adj" fmla="val 631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9" dirty="0">
                <a:solidFill>
                  <a:schemeClr val="tx1"/>
                </a:solidFill>
              </a:rPr>
              <a:t>CARTA X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249F9F12-D192-4BA7-8665-50D46B6A67D3}"/>
              </a:ext>
            </a:extLst>
          </p:cNvPr>
          <p:cNvSpPr txBox="1"/>
          <p:nvPr/>
        </p:nvSpPr>
        <p:spPr>
          <a:xfrm>
            <a:off x="9578890" y="7010913"/>
            <a:ext cx="1284758" cy="3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19" dirty="0">
                <a:latin typeface="+mn-lt"/>
              </a:rPr>
              <a:t>........</a:t>
            </a:r>
          </a:p>
        </p:txBody>
      </p:sp>
      <p:sp>
        <p:nvSpPr>
          <p:cNvPr id="15" name="Arco 14">
            <a:extLst>
              <a:ext uri="{FF2B5EF4-FFF2-40B4-BE49-F238E27FC236}">
                <a16:creationId xmlns:a16="http://schemas.microsoft.com/office/drawing/2014/main" id="{B6CEE68E-E4E0-4777-BA58-9222BF6956A0}"/>
              </a:ext>
            </a:extLst>
          </p:cNvPr>
          <p:cNvSpPr/>
          <p:nvPr/>
        </p:nvSpPr>
        <p:spPr>
          <a:xfrm rot="14254826">
            <a:off x="120505" y="4272494"/>
            <a:ext cx="2461751" cy="1768078"/>
          </a:xfrm>
          <a:prstGeom prst="arc">
            <a:avLst>
              <a:gd name="adj1" fmla="val 15306186"/>
              <a:gd name="adj2" fmla="val 0"/>
            </a:avLst>
          </a:prstGeom>
          <a:ln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519" dirty="0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909482" y="9680004"/>
            <a:ext cx="6619605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i="1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Aluna FGV : Ana Cristina Godoy</a:t>
            </a:r>
            <a:endParaRPr lang="pt-PT" altLang="pt-PT" i="1" dirty="0">
              <a:latin typeface="+mn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EAF2F110-7C8E-4DB0-AC2C-2047B8DE62F5}"/>
              </a:ext>
            </a:extLst>
          </p:cNvPr>
          <p:cNvSpPr txBox="1">
            <a:spLocks/>
          </p:cNvSpPr>
          <p:nvPr/>
        </p:nvSpPr>
        <p:spPr>
          <a:xfrm>
            <a:off x="794884" y="227940"/>
            <a:ext cx="11830049" cy="8586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000" b="1" i="1" dirty="0" err="1">
                <a:solidFill>
                  <a:srgbClr val="69ADE7"/>
                </a:solidFill>
                <a:latin typeface="+mn-lt"/>
              </a:rPr>
              <a:t>Moving</a:t>
            </a:r>
            <a:r>
              <a:rPr lang="pt-BR" sz="4000" b="1" i="1" dirty="0">
                <a:solidFill>
                  <a:srgbClr val="69ADE7"/>
                </a:solidFill>
                <a:latin typeface="+mn-lt"/>
              </a:rPr>
              <a:t> </a:t>
            </a:r>
            <a:r>
              <a:rPr lang="pt-BR" sz="4000" b="1" i="1" dirty="0" err="1">
                <a:solidFill>
                  <a:srgbClr val="69ADE7"/>
                </a:solidFill>
                <a:latin typeface="+mn-lt"/>
              </a:rPr>
              <a:t>motivators</a:t>
            </a:r>
            <a:endParaRPr lang="pt-BR" sz="4000" b="1" i="1" dirty="0">
              <a:solidFill>
                <a:srgbClr val="69ADE7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20764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Jogos compartilhados no site do Jurgen – Jorge Horácio &quot;Kotick&quot; Audy">
            <a:extLst>
              <a:ext uri="{FF2B5EF4-FFF2-40B4-BE49-F238E27FC236}">
                <a16:creationId xmlns:a16="http://schemas.microsoft.com/office/drawing/2014/main" id="{CD49760A-9D22-4566-AE97-FEA7375744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948"/>
          <a:stretch/>
        </p:blipFill>
        <p:spPr bwMode="auto">
          <a:xfrm>
            <a:off x="89643" y="1975148"/>
            <a:ext cx="12961045" cy="257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EAF2F110-7C8E-4DB0-AC2C-2047B8DE62F5}"/>
              </a:ext>
            </a:extLst>
          </p:cNvPr>
          <p:cNvSpPr txBox="1">
            <a:spLocks/>
          </p:cNvSpPr>
          <p:nvPr/>
        </p:nvSpPr>
        <p:spPr>
          <a:xfrm>
            <a:off x="123904" y="416901"/>
            <a:ext cx="11830049" cy="8586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000" b="1" dirty="0">
                <a:solidFill>
                  <a:srgbClr val="69ADE7"/>
                </a:solidFill>
                <a:latin typeface="+mn-lt"/>
              </a:rPr>
              <a:t>Cartas motivaç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A9C2040-A5BA-4290-A0D8-9C9BB440862B}"/>
              </a:ext>
            </a:extLst>
          </p:cNvPr>
          <p:cNvSpPr/>
          <p:nvPr/>
        </p:nvSpPr>
        <p:spPr>
          <a:xfrm>
            <a:off x="168927" y="4553873"/>
            <a:ext cx="2570351" cy="3785652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/>
            <a:r>
              <a:rPr lang="pt-BR" sz="2000" b="1" dirty="0">
                <a:latin typeface="+mn-lt"/>
              </a:rPr>
              <a:t>Ordem:</a:t>
            </a:r>
            <a:r>
              <a:rPr lang="pt-BR" sz="2000" dirty="0">
                <a:latin typeface="+mn-lt"/>
              </a:rPr>
              <a:t> “Existem regras e políticas suficientes para um ambiente estável”.  Ambiente estável, regras e procedimentos definidos. Segurança, organização e estabilidade são as palavras chaves para este fator motivador.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1E19AE27-126C-4844-BB76-B4A5779F56B5}"/>
              </a:ext>
            </a:extLst>
          </p:cNvPr>
          <p:cNvSpPr/>
          <p:nvPr/>
        </p:nvSpPr>
        <p:spPr>
          <a:xfrm>
            <a:off x="2729127" y="4551731"/>
            <a:ext cx="2563824" cy="341632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pt-BR" sz="2000" b="1" dirty="0">
                <a:latin typeface="+mn-lt"/>
              </a:rPr>
              <a:t>Aceitação:</a:t>
            </a:r>
            <a:r>
              <a:rPr lang="pt-BR" sz="2000" dirty="0">
                <a:latin typeface="+mn-lt"/>
              </a:rPr>
              <a:t> “As pessoas ao redor aprovam o que eu faço e como eu sou”. Ser aceito no ambiente onde está inserido é pré-requisito, sendo um forte fator motivacional.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321415" y="4584932"/>
            <a:ext cx="2563824" cy="3785652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pt-BR" sz="2000" b="1" dirty="0">
                <a:latin typeface="+mn-lt"/>
              </a:rPr>
              <a:t>Curiosidade:</a:t>
            </a:r>
            <a:r>
              <a:rPr lang="pt-BR" sz="2000" dirty="0">
                <a:latin typeface="+mn-lt"/>
              </a:rPr>
              <a:t> “Tenho muitas coisas para investigar e pensar”. Pessoas relacionadas a este motivador possuem grande aptidão para atividades de pesquisa, análise e investigação.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987A4BF-D12E-4054-845E-E3038C37D6FD}"/>
              </a:ext>
            </a:extLst>
          </p:cNvPr>
          <p:cNvSpPr/>
          <p:nvPr/>
        </p:nvSpPr>
        <p:spPr>
          <a:xfrm>
            <a:off x="7913703" y="4585650"/>
            <a:ext cx="2553672" cy="6001643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pt-BR" sz="2000" b="1" dirty="0">
                <a:latin typeface="+mn-lt"/>
              </a:rPr>
              <a:t>Poder:</a:t>
            </a:r>
            <a:r>
              <a:rPr lang="pt-BR" sz="2000" dirty="0">
                <a:latin typeface="+mn-lt"/>
              </a:rPr>
              <a:t> “Há espaço suficiente para eu influenciar o que acontece ao meu redor”.  Neste motivador, as pessoas gostam de ser ouvidas ou que sua opinião seja respeitada, tenha relevância no ambiente de contexto. O valor de suas atitudes e opiniões é um fator motivacional fundamental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pt-BR" sz="2000" dirty="0">
              <a:latin typeface="+mn-lt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7A47299B-DCA4-45A4-A2F6-5203D96F246E}"/>
              </a:ext>
            </a:extLst>
          </p:cNvPr>
          <p:cNvSpPr/>
          <p:nvPr/>
        </p:nvSpPr>
        <p:spPr>
          <a:xfrm>
            <a:off x="10505990" y="4605810"/>
            <a:ext cx="2544697" cy="4708981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/>
            <a:r>
              <a:rPr lang="pt-BR" sz="2000" b="1" dirty="0">
                <a:latin typeface="+mn-lt"/>
              </a:rPr>
              <a:t>Relação:</a:t>
            </a:r>
            <a:r>
              <a:rPr lang="pt-BR" sz="2000" dirty="0">
                <a:latin typeface="+mn-lt"/>
              </a:rPr>
              <a:t> “Tenho bons contatos sociais com as pessoas no meu trabalho”. Sociabilidade é a palavra que define o fator motivador. Também a aceitabilidade e bom relacionamento com os demais integrantes do ambiente onde estão inseridas são fundamentais para que essas pessoas sintam-se motivadas.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-580676" y="9769791"/>
            <a:ext cx="6619605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Aluna FGV : Ana Cristina Godoy</a:t>
            </a:r>
          </a:p>
        </p:txBody>
      </p:sp>
    </p:spTree>
    <p:extLst>
      <p:ext uri="{BB962C8B-B14F-4D97-AF65-F5344CB8AC3E}">
        <p14:creationId xmlns:p14="http://schemas.microsoft.com/office/powerpoint/2010/main" val="28233453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Jogos compartilhados no site do Jurgen – Jorge Horácio &quot;Kotick&quot; Audy">
            <a:extLst>
              <a:ext uri="{FF2B5EF4-FFF2-40B4-BE49-F238E27FC236}">
                <a16:creationId xmlns:a16="http://schemas.microsoft.com/office/drawing/2014/main" id="{F64EE410-D1AC-452E-BF24-A2E5FE2C16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17240" y="1831132"/>
            <a:ext cx="13099052" cy="265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06C58F71-6B1B-4AB6-8398-8363BD44AE07}"/>
              </a:ext>
            </a:extLst>
          </p:cNvPr>
          <p:cNvSpPr/>
          <p:nvPr/>
        </p:nvSpPr>
        <p:spPr>
          <a:xfrm>
            <a:off x="86046" y="4477306"/>
            <a:ext cx="2592288" cy="3477875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/>
            <a:r>
              <a:rPr lang="pt-BR" sz="2000" b="1" dirty="0">
                <a:latin typeface="+mn-lt"/>
              </a:rPr>
              <a:t>Liberdade:</a:t>
            </a:r>
            <a:r>
              <a:rPr lang="pt-BR" sz="2000" dirty="0">
                <a:latin typeface="+mn-lt"/>
              </a:rPr>
              <a:t> “Sou independente dos outros com meu trabalho e minhas responsabilidades”. O principal motivador é a liberdade que o ambiente e a equipe proporcionam para realização de atividades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BE2B4610-6C46-4394-A7CB-4B2158AA0E14}"/>
              </a:ext>
            </a:extLst>
          </p:cNvPr>
          <p:cNvSpPr/>
          <p:nvPr/>
        </p:nvSpPr>
        <p:spPr>
          <a:xfrm>
            <a:off x="2757530" y="4477306"/>
            <a:ext cx="2592288" cy="3170099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/>
            <a:r>
              <a:rPr lang="pt-BR" sz="2000" b="1" dirty="0">
                <a:latin typeface="+mn-lt"/>
              </a:rPr>
              <a:t>Status: </a:t>
            </a:r>
            <a:r>
              <a:rPr lang="pt-BR" sz="2000" dirty="0">
                <a:latin typeface="+mn-lt"/>
              </a:rPr>
              <a:t>“Minha posição é boa e reconhecida pelas pessoas que trabalham comigo”. A motivação é obtida através do reconhecimento da posição ocupada e prestígio alcançado.</a:t>
            </a:r>
          </a:p>
          <a:p>
            <a:pPr fontAlgn="base"/>
            <a:endParaRPr lang="pt-BR" sz="2000" dirty="0">
              <a:latin typeface="+mn-lt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54CF5C2-705C-43C8-9B97-83A52777ABFB}"/>
              </a:ext>
            </a:extLst>
          </p:cNvPr>
          <p:cNvSpPr/>
          <p:nvPr/>
        </p:nvSpPr>
        <p:spPr>
          <a:xfrm>
            <a:off x="5404444" y="4485472"/>
            <a:ext cx="2592288" cy="3477875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/>
            <a:r>
              <a:rPr lang="pt-BR" sz="2000" b="1" dirty="0">
                <a:latin typeface="+mn-lt"/>
              </a:rPr>
              <a:t>Meta:</a:t>
            </a:r>
            <a:r>
              <a:rPr lang="pt-BR" sz="2000" dirty="0">
                <a:latin typeface="+mn-lt"/>
              </a:rPr>
              <a:t> “Meu propósito na vida reflete no trabalho que faço”. As pessoas são motivadas por atingimento metas alinhado ao propósito de vida. O atingimento destas metas traduz-se em orgulho pessoal e profissional.</a:t>
            </a:r>
          </a:p>
          <a:p>
            <a:pPr fontAlgn="base"/>
            <a:endParaRPr lang="pt-BR" sz="2000" dirty="0">
              <a:latin typeface="+mn-lt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F9CA7A3A-1E6B-4CB8-BE75-215E9EF5DF99}"/>
              </a:ext>
            </a:extLst>
          </p:cNvPr>
          <p:cNvSpPr/>
          <p:nvPr/>
        </p:nvSpPr>
        <p:spPr>
          <a:xfrm>
            <a:off x="8051208" y="4471054"/>
            <a:ext cx="2485000" cy="5632311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pt-BR" sz="2000" b="1" dirty="0">
                <a:latin typeface="+mn-lt"/>
              </a:rPr>
              <a:t>Honra:</a:t>
            </a:r>
            <a:r>
              <a:rPr lang="pt-BR" sz="2000" dirty="0">
                <a:latin typeface="+mn-lt"/>
              </a:rPr>
              <a:t> “Sinto orgulho de meus valores pessoais refletirem na forma como trabalho”. Pessoas pertencentes a este motivador gostam de ser reconhecidas por suas condutas e virtudes. Estes elementos constituem fatores relevantes para automotivação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pt-BR" sz="2000" dirty="0">
              <a:latin typeface="+mn-lt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D09D36D7-B414-4C5A-A327-77E94514BC92}"/>
              </a:ext>
            </a:extLst>
          </p:cNvPr>
          <p:cNvSpPr/>
          <p:nvPr/>
        </p:nvSpPr>
        <p:spPr>
          <a:xfrm>
            <a:off x="10584600" y="4485201"/>
            <a:ext cx="2580085" cy="5632311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pt-BR" sz="2000" b="1" dirty="0">
                <a:latin typeface="+mn-lt"/>
              </a:rPr>
              <a:t>Maestria:</a:t>
            </a:r>
            <a:r>
              <a:rPr lang="pt-BR" sz="2000" dirty="0">
                <a:latin typeface="+mn-lt"/>
              </a:rPr>
              <a:t> “Meu trabalho desafia minha competência, mas ainda está dentro de minhas habilidades”.  Os colaboradores sentem-se importantes através da valorização de suas competências, habilidades e aptidões. Sentem-se motivadas por desafios onde possam demonstrar estas capacidades.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1025352" y="9775583"/>
            <a:ext cx="6619605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Aluna FGV : Ana Cristina Godoy</a:t>
            </a: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EAF2F110-7C8E-4DB0-AC2C-2047B8DE62F5}"/>
              </a:ext>
            </a:extLst>
          </p:cNvPr>
          <p:cNvSpPr txBox="1">
            <a:spLocks/>
          </p:cNvSpPr>
          <p:nvPr/>
        </p:nvSpPr>
        <p:spPr>
          <a:xfrm>
            <a:off x="123904" y="416901"/>
            <a:ext cx="11830049" cy="8586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000" b="1" dirty="0">
                <a:solidFill>
                  <a:srgbClr val="69ADE7"/>
                </a:solidFill>
                <a:latin typeface="+mn-lt"/>
              </a:rPr>
              <a:t>Cartas motivação</a:t>
            </a:r>
          </a:p>
        </p:txBody>
      </p:sp>
    </p:spTree>
    <p:extLst>
      <p:ext uri="{BB962C8B-B14F-4D97-AF65-F5344CB8AC3E}">
        <p14:creationId xmlns:p14="http://schemas.microsoft.com/office/powerpoint/2010/main" val="26643534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41192" y="1975148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1ª) Não existe certo ou errado. A beleza do jogo que releva as diferenças e amplia a visão de como vemos o outro;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EAF2F110-7C8E-4DB0-AC2C-2047B8DE62F5}"/>
              </a:ext>
            </a:extLst>
          </p:cNvPr>
          <p:cNvSpPr txBox="1">
            <a:spLocks/>
          </p:cNvSpPr>
          <p:nvPr/>
        </p:nvSpPr>
        <p:spPr>
          <a:xfrm>
            <a:off x="541193" y="613396"/>
            <a:ext cx="11830049" cy="8586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000" b="1" dirty="0">
                <a:solidFill>
                  <a:srgbClr val="69ADE7"/>
                </a:solidFill>
                <a:latin typeface="+mn-lt"/>
              </a:rPr>
              <a:t>Regras gerai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41192" y="3640194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2ª)  Podemos discordar das terminologias. O importante é que os cartões nos ajudem a explicar como nos sentimos e o que precisamos; 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41191" y="5305240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3ª)  Ordenar os cartões: direita para esquerda ou vice versa, horizontal e vertical. O grupo escolhe; 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652026" y="6816835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4ª)  O jogo fica mais fácil de ser aplicado quando usamos a pergunta:            </a:t>
            </a:r>
            <a:r>
              <a:rPr lang="pt-BR" sz="3100" b="1" dirty="0">
                <a:latin typeface="+mn-lt"/>
              </a:rPr>
              <a:t>“ o que o motiva?” </a:t>
            </a:r>
          </a:p>
        </p:txBody>
      </p:sp>
      <p:pic>
        <p:nvPicPr>
          <p:cNvPr id="14" name="Picture 2" descr="Jogos compartilhados no site do Jurgen – Jorge Horácio &quot;Kotick&quot; Audy">
            <a:extLst>
              <a:ext uri="{FF2B5EF4-FFF2-40B4-BE49-F238E27FC236}">
                <a16:creationId xmlns:a16="http://schemas.microsoft.com/office/drawing/2014/main" id="{CD49760A-9D22-4566-AE97-FEA7375744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948"/>
          <a:stretch/>
        </p:blipFill>
        <p:spPr bwMode="auto">
          <a:xfrm>
            <a:off x="839593" y="8510853"/>
            <a:ext cx="5616624" cy="1116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Jogos compartilhados no site do Jurgen – Jorge Horácio &quot;Kotick&quot; Audy">
            <a:extLst>
              <a:ext uri="{FF2B5EF4-FFF2-40B4-BE49-F238E27FC236}">
                <a16:creationId xmlns:a16="http://schemas.microsoft.com/office/drawing/2014/main" id="{F64EE410-D1AC-452E-BF24-A2E5FE2C16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6847016" y="8481881"/>
            <a:ext cx="5300407" cy="1074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777880" y="9854367"/>
            <a:ext cx="6619605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Appelo, Jurgen. Liderando  para a Felicidade, 2020. </a:t>
            </a:r>
          </a:p>
        </p:txBody>
      </p:sp>
    </p:spTree>
    <p:extLst>
      <p:ext uri="{BB962C8B-B14F-4D97-AF65-F5344CB8AC3E}">
        <p14:creationId xmlns:p14="http://schemas.microsoft.com/office/powerpoint/2010/main" val="1543497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41192" y="1200157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1ª) Conversa líder e liderado:  conhecimento sobre os motivadores de cada membro da equipe. Líder conhece os motivadores e investe em ações; 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EAF2F110-7C8E-4DB0-AC2C-2047B8DE62F5}"/>
              </a:ext>
            </a:extLst>
          </p:cNvPr>
          <p:cNvSpPr txBox="1">
            <a:spLocks/>
          </p:cNvSpPr>
          <p:nvPr/>
        </p:nvSpPr>
        <p:spPr>
          <a:xfrm>
            <a:off x="541192" y="247200"/>
            <a:ext cx="11830049" cy="8586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000" b="1" dirty="0">
                <a:solidFill>
                  <a:srgbClr val="69ADE7"/>
                </a:solidFill>
                <a:latin typeface="+mn-lt"/>
              </a:rPr>
              <a:t>Possíveis aplicaçõe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67057" y="2543054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2ª)  Reunião com a equipe: os colaboradores escolhem três cartas e explicam os motivos das escolhas . Entendimento das diferenças; 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21296" y="3845077"/>
            <a:ext cx="12365479" cy="1809726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3ª)  Em equipe , os colaboradores discutem XX cartas que representem os motivadores da equipe. Definem acordos e compromissos. Tirar foto e colocar no quadro. Elaborar num mapa os resultados da equipe; 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21296" y="5719564"/>
            <a:ext cx="12365479" cy="1809726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4ª)  No processo seletivo: solicitar que o candidato escolha XX cartas e explica que situações comprovem estas escolhas. Outra pergunta seria: como você valoriza sua mudança para esta empresa ?; </a:t>
            </a:r>
          </a:p>
        </p:txBody>
      </p:sp>
      <p:pic>
        <p:nvPicPr>
          <p:cNvPr id="14" name="Picture 2" descr="Jogos compartilhados no site do Jurgen – Jorge Horácio &quot;Kotick&quot; Audy">
            <a:extLst>
              <a:ext uri="{FF2B5EF4-FFF2-40B4-BE49-F238E27FC236}">
                <a16:creationId xmlns:a16="http://schemas.microsoft.com/office/drawing/2014/main" id="{CD49760A-9D22-4566-AE97-FEA7375744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948"/>
          <a:stretch/>
        </p:blipFill>
        <p:spPr bwMode="auto">
          <a:xfrm>
            <a:off x="839593" y="8995498"/>
            <a:ext cx="5616624" cy="1116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Jogos compartilhados no site do Jurgen – Jorge Horácio &quot;Kotick&quot; Audy">
            <a:extLst>
              <a:ext uri="{FF2B5EF4-FFF2-40B4-BE49-F238E27FC236}">
                <a16:creationId xmlns:a16="http://schemas.microsoft.com/office/drawing/2014/main" id="{F64EE410-D1AC-452E-BF24-A2E5FE2C16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6847016" y="8966526"/>
            <a:ext cx="5300407" cy="1074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A6B362B9-963E-459A-9EF2-D4C498CB88EE}"/>
              </a:ext>
            </a:extLst>
          </p:cNvPr>
          <p:cNvSpPr/>
          <p:nvPr/>
        </p:nvSpPr>
        <p:spPr>
          <a:xfrm>
            <a:off x="502365" y="7598349"/>
            <a:ext cx="12365479" cy="123726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rgbClr val="69ADE7"/>
              </a:buClr>
            </a:pPr>
            <a:r>
              <a:rPr lang="pt-BR" sz="3100" dirty="0">
                <a:latin typeface="+mn-lt"/>
              </a:rPr>
              <a:t>5ª)  Num processo de fusão/mudança de emprego ou de departamento: Como a mudança afeta a motivação das pessoas </a:t>
            </a:r>
          </a:p>
        </p:txBody>
      </p:sp>
    </p:spTree>
    <p:extLst>
      <p:ext uri="{BB962C8B-B14F-4D97-AF65-F5344CB8AC3E}">
        <p14:creationId xmlns:p14="http://schemas.microsoft.com/office/powerpoint/2010/main" val="3404297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23664" y="0"/>
            <a:ext cx="15739664" cy="10415232"/>
          </a:xfrm>
          <a:prstGeom prst="rect">
            <a:avLst/>
          </a:prstGeom>
        </p:spPr>
      </p:pic>
      <p:sp>
        <p:nvSpPr>
          <p:cNvPr id="10" name="Título 2"/>
          <p:cNvSpPr txBox="1">
            <a:spLocks/>
          </p:cNvSpPr>
          <p:nvPr/>
        </p:nvSpPr>
        <p:spPr>
          <a:xfrm>
            <a:off x="-198784" y="4027364"/>
            <a:ext cx="9865096" cy="90011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46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</a:t>
            </a:r>
          </a:p>
        </p:txBody>
      </p:sp>
      <p:sp>
        <p:nvSpPr>
          <p:cNvPr id="11" name="Título 2"/>
          <p:cNvSpPr txBox="1">
            <a:spLocks/>
          </p:cNvSpPr>
          <p:nvPr/>
        </p:nvSpPr>
        <p:spPr>
          <a:xfrm>
            <a:off x="449288" y="5079384"/>
            <a:ext cx="9865096" cy="90011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46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rganizacional</a:t>
            </a:r>
            <a:endParaRPr lang="en-US" sz="46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898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312" y="1061734"/>
            <a:ext cx="10783491" cy="1285875"/>
          </a:xfrm>
        </p:spPr>
        <p:txBody>
          <a:bodyPr anchor="t" anchorCtr="0">
            <a:noAutofit/>
          </a:bodyPr>
          <a:lstStyle/>
          <a:p>
            <a:pPr algn="l"/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sym typeface="Helvetica Neue"/>
              </a:rPr>
              <a:t>Definições de cultura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5569" y="2727800"/>
            <a:ext cx="1771477" cy="145004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Rectangle 4"/>
          <p:cNvSpPr txBox="1">
            <a:spLocks noChangeArrowheads="1"/>
          </p:cNvSpPr>
          <p:nvPr/>
        </p:nvSpPr>
        <p:spPr>
          <a:xfrm>
            <a:off x="665312" y="6760664"/>
            <a:ext cx="8341457" cy="1687177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544319" indent="-544319" algn="l" defTabSz="72575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1pPr>
            <a:lvl2pPr marL="1179359" indent="-453600" algn="l" defTabSz="725759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2pPr>
            <a:lvl3pPr marL="1814398" indent="-362880" algn="l" defTabSz="72575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3pPr>
            <a:lvl4pPr marL="2540157" indent="-362880" algn="l" defTabSz="725759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4pPr>
            <a:lvl5pPr marL="3265917" indent="-362880" algn="l" defTabSz="7257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03366"/>
                </a:solidFill>
                <a:latin typeface="Myriad Pro" pitchFamily="34" charset="0"/>
                <a:ea typeface="Myriad Pro" pitchFamily="34" charset="0"/>
                <a:cs typeface="Myriad Pro" pitchFamily="34" charset="0"/>
              </a:defRPr>
            </a:lvl5pPr>
            <a:lvl6pPr marL="3991676" indent="-362880" algn="l" defTabSz="72575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7435" indent="-362880" algn="l" defTabSz="72575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43195" indent="-362880" algn="l" defTabSz="72575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68954" indent="-362880" algn="l" defTabSz="72575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endParaRPr lang="pt-BR" sz="3100" i="1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 algn="just">
              <a:spcBef>
                <a:spcPts val="0"/>
              </a:spcBef>
              <a:buNone/>
            </a:pPr>
            <a:r>
              <a:rPr lang="pt-BR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Cultura é a programação coletiva da mente que distingue os membros de uma determinada categoria de pessoas das outras.” 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5569" y="7275251"/>
            <a:ext cx="1856083" cy="139206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8" name="CaixaDeTexto 7"/>
          <p:cNvSpPr txBox="1"/>
          <p:nvPr/>
        </p:nvSpPr>
        <p:spPr>
          <a:xfrm>
            <a:off x="665312" y="2511889"/>
            <a:ext cx="8519713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Cultura é um padrão de premissas compartilhadas tacitamente por um grupo de pessoas conforme sua utilidade para solucionar problemas de adaptação externa e integração interna, que tem funcionado adequadamente de modo a ser considerado válido e, consequentemente, ser ensinado aos novos membros como o modo correto de perceber, pensar e sentir em relação a estes problemas.”                                                                                                                           </a:t>
            </a:r>
          </a:p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9" name="Retângulo 8"/>
          <p:cNvSpPr/>
          <p:nvPr/>
        </p:nvSpPr>
        <p:spPr>
          <a:xfrm>
            <a:off x="10098619" y="4342120"/>
            <a:ext cx="16053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pt-BR" b="0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hein</a:t>
            </a:r>
            <a:r>
              <a:rPr lang="pt-BR" b="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1984)</a:t>
            </a:r>
          </a:p>
        </p:txBody>
      </p:sp>
      <p:sp>
        <p:nvSpPr>
          <p:cNvPr id="10" name="Retângulo 9"/>
          <p:cNvSpPr/>
          <p:nvPr/>
        </p:nvSpPr>
        <p:spPr>
          <a:xfrm>
            <a:off x="9944234" y="8806616"/>
            <a:ext cx="18428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t-BR" b="0" i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fstede</a:t>
            </a:r>
            <a:r>
              <a:rPr lang="pt-BR" b="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1990)</a:t>
            </a:r>
          </a:p>
        </p:txBody>
      </p:sp>
    </p:spTree>
    <p:extLst>
      <p:ext uri="{BB962C8B-B14F-4D97-AF65-F5344CB8AC3E}">
        <p14:creationId xmlns:p14="http://schemas.microsoft.com/office/powerpoint/2010/main" val="1688417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2053700" y="8246107"/>
            <a:ext cx="16538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75"/>
              </a:spcAft>
            </a:pPr>
            <a:r>
              <a:rPr lang="en-US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etânia</a:t>
            </a:r>
            <a:r>
              <a:rPr lang="en-US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anure</a:t>
            </a:r>
            <a:endParaRPr lang="en-US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3BBF352-E82E-4B77-9779-CCF765769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44" y="606996"/>
            <a:ext cx="473309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+mj-cs"/>
                <a:sym typeface="Helvetica Neue Medium"/>
              </a:rPr>
              <a:t>Cultura organizacional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3977680" y="4801393"/>
            <a:ext cx="30848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É a personalidade da empresa;”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1236788" y="3766921"/>
            <a:ext cx="30350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É o jeito de ser e de fazer as coisas;”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pic>
        <p:nvPicPr>
          <p:cNvPr id="1026" name="Picture 2" descr="https://eventos.cnseg.org.br/media/uploaded_files/palestrantes/42e5c1df7d874c2aa35bc0e8c8ba243c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995" y="5618573"/>
            <a:ext cx="2316662" cy="231666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4526" y="5863477"/>
            <a:ext cx="1572985" cy="210426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" name="Retângulo 12"/>
          <p:cNvSpPr/>
          <p:nvPr/>
        </p:nvSpPr>
        <p:spPr>
          <a:xfrm>
            <a:off x="8036233" y="3416398"/>
            <a:ext cx="330337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alt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... o que todo</a:t>
            </a:r>
          </a:p>
          <a:p>
            <a:pPr algn="ctr"/>
            <a:r>
              <a:rPr lang="pt-BR" alt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undo sabe sem</a:t>
            </a:r>
          </a:p>
          <a:p>
            <a:pPr algn="ctr"/>
            <a:r>
              <a:rPr lang="pt-BR" alt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aber que sabe.”</a:t>
            </a:r>
          </a:p>
        </p:txBody>
      </p:sp>
      <p:sp>
        <p:nvSpPr>
          <p:cNvPr id="14" name="Texto explicativo em elipse 13"/>
          <p:cNvSpPr/>
          <p:nvPr/>
        </p:nvSpPr>
        <p:spPr>
          <a:xfrm>
            <a:off x="7976690" y="3018999"/>
            <a:ext cx="3475383" cy="2121348"/>
          </a:xfrm>
          <a:prstGeom prst="wedgeEllipseCallou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o explicativo em elipse 14"/>
          <p:cNvSpPr/>
          <p:nvPr/>
        </p:nvSpPr>
        <p:spPr>
          <a:xfrm>
            <a:off x="924604" y="3253873"/>
            <a:ext cx="3564038" cy="1886473"/>
          </a:xfrm>
          <a:prstGeom prst="wedgeEllipseCallou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o explicativo em elipse 15"/>
          <p:cNvSpPr/>
          <p:nvPr/>
        </p:nvSpPr>
        <p:spPr>
          <a:xfrm>
            <a:off x="3701944" y="4197110"/>
            <a:ext cx="3564038" cy="1886473"/>
          </a:xfrm>
          <a:prstGeom prst="wedgeEllipseCallou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Espaço Reservado para Conteúdo 2"/>
          <p:cNvSpPr>
            <a:spLocks noGrp="1"/>
          </p:cNvSpPr>
          <p:nvPr>
            <p:ph idx="1"/>
          </p:nvPr>
        </p:nvSpPr>
        <p:spPr>
          <a:xfrm>
            <a:off x="4605551" y="8208929"/>
            <a:ext cx="5490845" cy="1207635"/>
          </a:xfrm>
          <a:prstGeom prst="rect">
            <a:avLst/>
          </a:prstGeom>
        </p:spPr>
        <p:txBody>
          <a:bodyPr/>
          <a:lstStyle/>
          <a:p>
            <a:pPr marL="0" indent="0" algn="r">
              <a:spcBef>
                <a:spcPts val="0"/>
              </a:spcBef>
              <a:buNone/>
            </a:pPr>
            <a:r>
              <a:rPr lang="pt-BR" altLang="pt-BR" sz="1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pt-BR" altLang="pt-BR" sz="1800" i="1" dirty="0">
                <a:ea typeface="Tahoma" panose="020B0604030504040204" pitchFamily="34" charset="0"/>
                <a:cs typeface="Tahoma" panose="020B0604030504040204" pitchFamily="34" charset="0"/>
              </a:rPr>
              <a:t>Terry </a:t>
            </a:r>
            <a:r>
              <a:rPr lang="pt-BR" altLang="pt-BR" sz="1800" i="1" dirty="0" err="1">
                <a:ea typeface="Tahoma" panose="020B0604030504040204" pitchFamily="34" charset="0"/>
                <a:cs typeface="Tahoma" panose="020B0604030504040204" pitchFamily="34" charset="0"/>
              </a:rPr>
              <a:t>Eagleton</a:t>
            </a:r>
            <a:r>
              <a:rPr lang="pt-BR" altLang="pt-BR" sz="1800" i="1" dirty="0"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0" indent="0" algn="r">
              <a:spcBef>
                <a:spcPts val="0"/>
              </a:spcBef>
              <a:buNone/>
            </a:pPr>
            <a:r>
              <a:rPr lang="pt-BR" altLang="pt-BR" sz="1800" i="1" dirty="0">
                <a:ea typeface="Tahoma" panose="020B0604030504040204" pitchFamily="34" charset="0"/>
                <a:cs typeface="Tahoma" panose="020B0604030504040204" pitchFamily="34" charset="0"/>
              </a:rPr>
              <a:t>   Professor da Universidade de Oxford</a:t>
            </a:r>
          </a:p>
        </p:txBody>
      </p:sp>
    </p:spTree>
    <p:extLst>
      <p:ext uri="{BB962C8B-B14F-4D97-AF65-F5344CB8AC3E}">
        <p14:creationId xmlns:p14="http://schemas.microsoft.com/office/powerpoint/2010/main" val="2343240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9" grpId="0"/>
      <p:bldP spid="10" grpId="0"/>
      <p:bldP spid="13" grpId="0"/>
      <p:bldP spid="14" grpId="0" animBg="1"/>
      <p:bldP spid="15" grpId="0" animBg="1"/>
      <p:bldP spid="16" grpId="0" animBg="1"/>
      <p:bldP spid="1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1"/>
          </p:nvPr>
        </p:nvSpPr>
        <p:spPr>
          <a:xfrm>
            <a:off x="1025352" y="1255068"/>
            <a:ext cx="6238301" cy="648071"/>
          </a:xfrm>
        </p:spPr>
        <p:txBody>
          <a:bodyPr/>
          <a:lstStyle/>
          <a:p>
            <a:r>
              <a:rPr lang="pt-BR" dirty="0"/>
              <a:t>Conteúdo</a:t>
            </a:r>
          </a:p>
        </p:txBody>
      </p:sp>
      <p:sp>
        <p:nvSpPr>
          <p:cNvPr id="10" name="Espaço Reservado para Texto 8"/>
          <p:cNvSpPr txBox="1">
            <a:spLocks/>
          </p:cNvSpPr>
          <p:nvPr/>
        </p:nvSpPr>
        <p:spPr>
          <a:xfrm>
            <a:off x="881336" y="2551212"/>
            <a:ext cx="9911855" cy="3384376"/>
          </a:xfrm>
          <a:prstGeom prst="rect">
            <a:avLst/>
          </a:prstGeom>
        </p:spPr>
        <p:txBody>
          <a:bodyPr anchor="t">
            <a:noAutofit/>
          </a:bodyPr>
          <a:lstStyle>
            <a:lvl1pPr marL="305388" indent="-305388" algn="l" rtl="0" eaLnBrk="1" fontAlgn="base" hangingPunct="1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08990" indent="-303602" algn="l" rtl="0" eaLnBrk="1" fontAlgn="base" hangingPunct="1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lnSpc>
                <a:spcPts val="2587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lnSpc>
                <a:spcPts val="2587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lnSpc>
                <a:spcPts val="2587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3100" dirty="0"/>
              <a:t>Cultura organizacional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3100" dirty="0"/>
              <a:t>Cultura, estratégia e estilo de lideranç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3100" dirty="0"/>
              <a:t>Diagnóstico da cultur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3100" dirty="0"/>
              <a:t>Clima Organizacional</a:t>
            </a:r>
          </a:p>
          <a:p>
            <a:pPr marL="305388" indent="-305388">
              <a:lnSpc>
                <a:spcPct val="1500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</a:pPr>
            <a:r>
              <a:rPr lang="pt-PT" sz="3100" dirty="0"/>
              <a:t>Gestão da mudança; </a:t>
            </a:r>
          </a:p>
          <a:p>
            <a:pPr marL="305388" indent="-305388">
              <a:lnSpc>
                <a:spcPct val="1500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</a:pPr>
            <a:r>
              <a:rPr lang="pt-PT" sz="3100" dirty="0"/>
              <a:t>Gestão dos </a:t>
            </a:r>
            <a:r>
              <a:rPr lang="pt-PT" sz="3100" i="1" dirty="0"/>
              <a:t>Stakeholders</a:t>
            </a:r>
          </a:p>
          <a:p>
            <a:pPr marL="305388" indent="-305388">
              <a:lnSpc>
                <a:spcPct val="1500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</a:pPr>
            <a:r>
              <a:rPr lang="pt-PT" sz="3100" dirty="0"/>
              <a:t>Metodologias de gestão da mudanç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3100" dirty="0"/>
          </a:p>
          <a:p>
            <a:pPr marL="0" indent="0">
              <a:buNone/>
            </a:pPr>
            <a:r>
              <a:rPr lang="pt-BR" dirty="0"/>
              <a:t> </a:t>
            </a:r>
          </a:p>
        </p:txBody>
      </p:sp>
      <p:sp>
        <p:nvSpPr>
          <p:cNvPr id="18" name="Espaço Reservado para Texto 8"/>
          <p:cNvSpPr txBox="1">
            <a:spLocks/>
          </p:cNvSpPr>
          <p:nvPr/>
        </p:nvSpPr>
        <p:spPr>
          <a:xfrm>
            <a:off x="7056507" y="8062730"/>
            <a:ext cx="6075783" cy="2890052"/>
          </a:xfrm>
          <a:prstGeom prst="rect">
            <a:avLst/>
          </a:prstGeom>
        </p:spPr>
        <p:txBody>
          <a:bodyPr anchor="t">
            <a:normAutofit/>
          </a:bodyPr>
          <a:lstStyle>
            <a:lvl1pPr marL="305388" indent="-305388" algn="l" rtl="0" eaLnBrk="1" fontAlgn="base" hangingPunct="1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80000"/>
              <a:buFont typeface="Wingdings" panose="05000000000000000000" pitchFamily="2" charset="2"/>
              <a:buChar char="§"/>
              <a:defRPr sz="30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08990" indent="-303602" algn="l" rtl="0" eaLnBrk="1" fontAlgn="base" hangingPunct="1">
              <a:lnSpc>
                <a:spcPts val="3600"/>
              </a:lnSpc>
              <a:spcBef>
                <a:spcPts val="0"/>
              </a:spcBef>
              <a:spcAft>
                <a:spcPts val="675"/>
              </a:spcAft>
              <a:buClr>
                <a:srgbClr val="69ADE7"/>
              </a:buClr>
              <a:buSzPct val="60000"/>
              <a:buFont typeface="Wingdings" panose="05000000000000000000" pitchFamily="2" charset="2"/>
              <a:buChar char="§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lnSpc>
                <a:spcPts val="2587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lnSpc>
                <a:spcPts val="2587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lnSpc>
                <a:spcPts val="2587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i="1" dirty="0">
                <a:solidFill>
                  <a:srgbClr val="FF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                   </a:t>
            </a:r>
          </a:p>
          <a:p>
            <a:pPr marL="0" indent="0">
              <a:buNone/>
            </a:pPr>
            <a:r>
              <a:rPr lang="pt-BR" sz="2000" i="1" dirty="0">
                <a:solidFill>
                  <a:srgbClr val="FF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44262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>
            <a:extLst>
              <a:ext uri="{FF2B5EF4-FFF2-40B4-BE49-F238E27FC236}">
                <a16:creationId xmlns:a16="http://schemas.microsoft.com/office/drawing/2014/main" id="{73BBF352-E82E-4B77-9779-CCF765769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9368" y="967036"/>
            <a:ext cx="473309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+mj-cs"/>
                <a:sym typeface="Helvetica Neue Medium"/>
              </a:rPr>
              <a:t>Cultura organizacional</a:t>
            </a:r>
          </a:p>
        </p:txBody>
      </p:sp>
      <p:sp>
        <p:nvSpPr>
          <p:cNvPr id="4" name="Retângulo 3"/>
          <p:cNvSpPr/>
          <p:nvPr/>
        </p:nvSpPr>
        <p:spPr>
          <a:xfrm>
            <a:off x="1313384" y="2429543"/>
            <a:ext cx="11038865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A cultura é um sistema de crenças (como as coisas funcionam) e valores (o que é importante) compartilhados (vivenciado por todos) e que interagem com (penetrações nos sistemas e subsistemas) as pessoas, as estruturas e mecanismos de controle para produzir (efeitos) as normas de comportamento características daquela organização (como fazemos as coisas por aqui).”</a:t>
            </a:r>
          </a:p>
        </p:txBody>
      </p:sp>
      <p:sp>
        <p:nvSpPr>
          <p:cNvPr id="7" name="Retângulo 6"/>
          <p:cNvSpPr/>
          <p:nvPr/>
        </p:nvSpPr>
        <p:spPr>
          <a:xfrm>
            <a:off x="10530408" y="6031097"/>
            <a:ext cx="17830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aulo C. Mour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8839E482-C30F-3154-0FBE-A2E05D787D8C}"/>
              </a:ext>
            </a:extLst>
          </p:cNvPr>
          <p:cNvSpPr txBox="1"/>
          <p:nvPr/>
        </p:nvSpPr>
        <p:spPr>
          <a:xfrm>
            <a:off x="1529408" y="7447756"/>
            <a:ext cx="11449272" cy="569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ultura → cultivo</a:t>
            </a:r>
          </a:p>
        </p:txBody>
      </p:sp>
    </p:spTree>
    <p:extLst>
      <p:ext uri="{BB962C8B-B14F-4D97-AF65-F5344CB8AC3E}">
        <p14:creationId xmlns:p14="http://schemas.microsoft.com/office/powerpoint/2010/main" val="20829757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067037" y="2249528"/>
            <a:ext cx="1649594" cy="5787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/>
          </a:p>
        </p:txBody>
      </p:sp>
      <p:sp>
        <p:nvSpPr>
          <p:cNvPr id="8" name="Title 30"/>
          <p:cNvSpPr txBox="1">
            <a:spLocks/>
          </p:cNvSpPr>
          <p:nvPr/>
        </p:nvSpPr>
        <p:spPr>
          <a:xfrm>
            <a:off x="308277" y="473214"/>
            <a:ext cx="9089217" cy="614661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Schein</a:t>
            </a:r>
            <a:endParaRPr lang="pt-BR" altLang="pt-BR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6" name="Picture 2" descr=" Cultura Organizacional Arti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9284" y="820019"/>
            <a:ext cx="5928848" cy="3418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521296" y="4463717"/>
            <a:ext cx="1130525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pt-BR" sz="30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rtefatos</a:t>
            </a: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: “ o que vemos” - a forma como as suas instalações estão organizadas; seus rituais formais e informais </a:t>
            </a:r>
            <a:r>
              <a:rPr lang="pt-BR" sz="2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o modo como seus colaboradores se vestem, o formato das reuniões etc.)</a:t>
            </a: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; </a:t>
            </a:r>
          </a:p>
        </p:txBody>
      </p:sp>
      <p:sp>
        <p:nvSpPr>
          <p:cNvPr id="7" name="Retângulo 6"/>
          <p:cNvSpPr/>
          <p:nvPr/>
        </p:nvSpPr>
        <p:spPr>
          <a:xfrm>
            <a:off x="465584" y="7614214"/>
            <a:ext cx="1186502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pt-BR" sz="30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renças e Pressupostos</a:t>
            </a: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: “o que eles acreditam profundamente” </a:t>
            </a:r>
            <a:r>
              <a:rPr lang="pt-BR" sz="30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é o coração do sistema, sua essência, aquilo que move a empresa; seus elementos raras vezes são articulados de maneira explícita, pois estão além do nível de consciência. Conhecer a história da empresa e dos fundadores.</a:t>
            </a:r>
          </a:p>
        </p:txBody>
      </p:sp>
      <p:sp>
        <p:nvSpPr>
          <p:cNvPr id="9" name="Retângulo 8"/>
          <p:cNvSpPr/>
          <p:nvPr/>
        </p:nvSpPr>
        <p:spPr>
          <a:xfrm>
            <a:off x="501095" y="6071248"/>
            <a:ext cx="1168549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pt-BR" sz="30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ormas e Valores: </a:t>
            </a: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“o que eles dizem” - são as regras escritas e não escritas que fazem com que os membros de uma empresa saibam o que é esperado deles;</a:t>
            </a:r>
          </a:p>
        </p:txBody>
      </p:sp>
    </p:spTree>
    <p:extLst>
      <p:ext uri="{BB962C8B-B14F-4D97-AF65-F5344CB8AC3E}">
        <p14:creationId xmlns:p14="http://schemas.microsoft.com/office/powerpoint/2010/main" val="1496748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842" y="2911252"/>
            <a:ext cx="4906799" cy="2844280"/>
          </a:xfrm>
          <a:prstGeom prst="rect">
            <a:avLst/>
          </a:prstGeom>
        </p:spPr>
      </p:pic>
      <p:sp>
        <p:nvSpPr>
          <p:cNvPr id="5" name="Title 30"/>
          <p:cNvSpPr txBox="1">
            <a:spLocks/>
          </p:cNvSpPr>
          <p:nvPr/>
        </p:nvSpPr>
        <p:spPr>
          <a:xfrm>
            <a:off x="305272" y="874415"/>
            <a:ext cx="9089217" cy="614661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it cultural</a:t>
            </a:r>
          </a:p>
        </p:txBody>
      </p:sp>
      <p:pic>
        <p:nvPicPr>
          <p:cNvPr id="2050" name="Picture 2" descr="https://mail.uol.com.br/content_id?msg_id=NjgyMTE&amp;cid=184d35800f8e4e019f72&amp;folder=INBOX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-342900"/>
            <a:ext cx="714375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74024" y="1044098"/>
            <a:ext cx="5665233" cy="7211541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10242376" y="8452430"/>
            <a:ext cx="30243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i="1" dirty="0">
                <a:latin typeface="+mn-lt"/>
              </a:rPr>
              <a:t>Fonte: Você RH 11/2022</a:t>
            </a:r>
          </a:p>
        </p:txBody>
      </p:sp>
    </p:spTree>
    <p:extLst>
      <p:ext uri="{BB962C8B-B14F-4D97-AF65-F5344CB8AC3E}">
        <p14:creationId xmlns:p14="http://schemas.microsoft.com/office/powerpoint/2010/main" val="95531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7706751" y="3593328"/>
            <a:ext cx="4590061" cy="1215833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33485" defTabSz="542450">
              <a:spcBef>
                <a:spcPts val="1424"/>
              </a:spcBef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ultura Corporativa </a:t>
            </a:r>
          </a:p>
          <a:p>
            <a:pPr marL="33485" defTabSz="542450">
              <a:spcBef>
                <a:spcPts val="1424"/>
              </a:spcBef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pt-BR" altLang="pt-BR" sz="31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5993904" y="9660775"/>
            <a:ext cx="6803758" cy="364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419226" indent="-385742" algn="r" defTabSz="542450">
              <a:lnSpc>
                <a:spcPct val="150000"/>
              </a:lnSpc>
              <a:spcBef>
                <a:spcPts val="1424"/>
              </a:spcBef>
              <a:defRPr/>
            </a:pPr>
            <a:r>
              <a:rPr lang="pt-BR" alt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Barbosa e Lívia (2002).</a:t>
            </a:r>
          </a:p>
          <a:p>
            <a:pPr marL="419226" indent="-385742" defTabSz="542450">
              <a:spcBef>
                <a:spcPts val="1424"/>
              </a:spcBef>
              <a:defRPr/>
            </a:pPr>
            <a:endParaRPr lang="pt-BR" sz="31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800993" y="3593328"/>
            <a:ext cx="4941686" cy="55583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33485" defTabSz="542450">
              <a:spcBef>
                <a:spcPts val="1424"/>
              </a:spcBef>
              <a:defRPr/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ultura Organizacional </a:t>
            </a:r>
          </a:p>
          <a:p>
            <a:pPr marL="33485" defTabSz="542450">
              <a:lnSpc>
                <a:spcPct val="150000"/>
              </a:lnSpc>
              <a:spcBef>
                <a:spcPts val="1424"/>
              </a:spcBef>
              <a:defRPr/>
            </a:pPr>
            <a:endParaRPr lang="pt-BR" altLang="pt-BR" sz="31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7633615" y="4586869"/>
            <a:ext cx="4274368" cy="1565931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33485" defTabSz="542450">
              <a:spcBef>
                <a:spcPts val="1424"/>
              </a:spcBef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dentidade social criada a partir dos valores dos altos níveis hierárquicos da empresa.      </a:t>
            </a:r>
          </a:p>
          <a:p>
            <a:pPr marL="33485" defTabSz="542450">
              <a:spcBef>
                <a:spcPts val="1424"/>
              </a:spcBef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alt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 que está descrito.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780559" y="4762782"/>
            <a:ext cx="4279598" cy="121410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33485" defTabSz="542450">
              <a:spcBef>
                <a:spcPts val="1424"/>
              </a:spcBef>
              <a:defRPr/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ultura de todo tipo de organização: privadas, públicas e do terceiro setor.    </a:t>
            </a:r>
          </a:p>
          <a:p>
            <a:pPr marL="33485" defTabSz="542450">
              <a:spcBef>
                <a:spcPts val="1424"/>
              </a:spcBef>
              <a:defRPr/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  <a:r>
              <a:rPr lang="pt-BR" alt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 que é de fato.</a:t>
            </a:r>
          </a:p>
          <a:p>
            <a:pPr marL="33485" defTabSz="542450">
              <a:lnSpc>
                <a:spcPct val="150000"/>
              </a:lnSpc>
              <a:spcBef>
                <a:spcPts val="1424"/>
              </a:spcBef>
              <a:defRPr/>
            </a:pPr>
            <a:endParaRPr lang="pt-BR" altLang="pt-BR" sz="31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Diferente de 8"/>
          <p:cNvSpPr/>
          <p:nvPr/>
        </p:nvSpPr>
        <p:spPr>
          <a:xfrm>
            <a:off x="5039662" y="4442645"/>
            <a:ext cx="2309191" cy="2147860"/>
          </a:xfrm>
          <a:prstGeom prst="mathNotEqual">
            <a:avLst/>
          </a:prstGeom>
          <a:solidFill>
            <a:srgbClr val="69AD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1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665312" y="636875"/>
            <a:ext cx="11799075" cy="137765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</a:rPr>
              <a:t>Cultura organizacional e corporativa </a:t>
            </a:r>
          </a:p>
          <a:p>
            <a:pPr fontAlgn="base" hangingPunct="1">
              <a:defRPr/>
            </a:pPr>
            <a:endParaRPr lang="pt-BR" altLang="pt-BR" sz="3038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72EEF94-2FDD-39D7-3533-97985DB619DC}"/>
              </a:ext>
            </a:extLst>
          </p:cNvPr>
          <p:cNvSpPr txBox="1"/>
          <p:nvPr/>
        </p:nvSpPr>
        <p:spPr>
          <a:xfrm>
            <a:off x="7782570" y="7483746"/>
            <a:ext cx="5015092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quilo que a empresa diz explicitamente que seja a cultura dela: missão, visão e valores</a:t>
            </a:r>
          </a:p>
        </p:txBody>
      </p:sp>
    </p:spTree>
    <p:extLst>
      <p:ext uri="{BB962C8B-B14F-4D97-AF65-F5344CB8AC3E}">
        <p14:creationId xmlns:p14="http://schemas.microsoft.com/office/powerpoint/2010/main" val="15786213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/>
          <p:cNvSpPr>
            <a:spLocks/>
          </p:cNvSpPr>
          <p:nvPr/>
        </p:nvSpPr>
        <p:spPr bwMode="auto">
          <a:xfrm>
            <a:off x="836124" y="751012"/>
            <a:ext cx="11826869" cy="9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>
            <a:noAutofit/>
          </a:bodyPr>
          <a:lstStyle/>
          <a:p>
            <a:pPr hangingPunct="1">
              <a:defRPr/>
            </a:pPr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</a:rPr>
              <a:t>Cultura e identidade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836124" y="3345556"/>
            <a:ext cx="9612129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6822" indent="-626822" algn="just">
              <a:buAutoNum type="arabicPeriod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r que e para que nós existimos ? </a:t>
            </a:r>
          </a:p>
          <a:p>
            <a:pPr algn="just"/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(Direciona as estratégias da instituição )                                                                                                                      </a:t>
            </a:r>
          </a:p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2" name="Retângulo 1"/>
          <p:cNvSpPr/>
          <p:nvPr/>
        </p:nvSpPr>
        <p:spPr>
          <a:xfrm>
            <a:off x="8568375" y="3345556"/>
            <a:ext cx="4094618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100" dirty="0">
                <a:solidFill>
                  <a:schemeClr val="tx1"/>
                </a:solidFill>
              </a:rPr>
              <a:t>PROPÓSITO</a:t>
            </a:r>
          </a:p>
        </p:txBody>
      </p:sp>
    </p:spTree>
    <p:extLst>
      <p:ext uri="{BB962C8B-B14F-4D97-AF65-F5344CB8AC3E}">
        <p14:creationId xmlns:p14="http://schemas.microsoft.com/office/powerpoint/2010/main" val="29736607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1336" y="1199465"/>
            <a:ext cx="8087618" cy="964406"/>
          </a:xfrm>
        </p:spPr>
        <p:txBody>
          <a:bodyPr>
            <a:normAutofit/>
          </a:bodyPr>
          <a:lstStyle/>
          <a:p>
            <a:pPr algn="l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Dando propósito ao trabalho</a:t>
            </a:r>
          </a:p>
        </p:txBody>
      </p:sp>
      <p:sp>
        <p:nvSpPr>
          <p:cNvPr id="4" name="Retângulo 3"/>
          <p:cNvSpPr/>
          <p:nvPr/>
        </p:nvSpPr>
        <p:spPr>
          <a:xfrm>
            <a:off x="881337" y="4302197"/>
            <a:ext cx="3315584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Líderes acreditam que o propósito é central para sucesso nos negócios.</a:t>
            </a:r>
          </a:p>
        </p:txBody>
      </p:sp>
      <p:sp>
        <p:nvSpPr>
          <p:cNvPr id="7" name="Retângulo 6"/>
          <p:cNvSpPr/>
          <p:nvPr/>
        </p:nvSpPr>
        <p:spPr>
          <a:xfrm>
            <a:off x="8753244" y="4611764"/>
            <a:ext cx="309352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Líderes usam o propósito como guia na tomada de decisão.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23167" t="24053" r="40842" b="23295"/>
          <a:stretch/>
        </p:blipFill>
        <p:spPr>
          <a:xfrm>
            <a:off x="4173188" y="3651123"/>
            <a:ext cx="4595420" cy="3779665"/>
          </a:xfrm>
          <a:prstGeom prst="rect">
            <a:avLst/>
          </a:prstGeom>
        </p:spPr>
      </p:pic>
      <p:sp>
        <p:nvSpPr>
          <p:cNvPr id="3" name="Retângulo de cantos arredondados 2"/>
          <p:cNvSpPr/>
          <p:nvPr/>
        </p:nvSpPr>
        <p:spPr>
          <a:xfrm>
            <a:off x="7562080" y="5098067"/>
            <a:ext cx="919525" cy="527804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348249"/>
            <a:endParaRPr lang="pt-BR" sz="3100">
              <a:solidFill>
                <a:srgbClr val="FFFFFF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 Medium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0458400" y="9537258"/>
            <a:ext cx="34563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WC, 2016.</a:t>
            </a:r>
          </a:p>
        </p:txBody>
      </p:sp>
    </p:spTree>
    <p:extLst>
      <p:ext uri="{BB962C8B-B14F-4D97-AF65-F5344CB8AC3E}">
        <p14:creationId xmlns:p14="http://schemas.microsoft.com/office/powerpoint/2010/main" val="1996767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/>
          <p:cNvSpPr>
            <a:spLocks/>
          </p:cNvSpPr>
          <p:nvPr/>
        </p:nvSpPr>
        <p:spPr bwMode="auto">
          <a:xfrm>
            <a:off x="593304" y="895028"/>
            <a:ext cx="11826869" cy="9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>
            <a:noAutofit/>
          </a:bodyPr>
          <a:lstStyle/>
          <a:p>
            <a:pPr fontAlgn="base" hangingPunct="1">
              <a:defRPr/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</a:rPr>
              <a:t>Cultura e identidade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37320" y="2839244"/>
            <a:ext cx="9612129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6822" indent="-626822" algn="just">
              <a:buAutoNum type="arabicPeriod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r que e para que nós existimos ? </a:t>
            </a:r>
          </a:p>
          <a:p>
            <a:pPr algn="just"/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(Direciona as estratégias da instituição )                                                                                                                      </a:t>
            </a:r>
          </a:p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737320" y="4236070"/>
            <a:ext cx="9612129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2. O que nós fazemos para esta existência ?                                                                                                                     </a:t>
            </a:r>
          </a:p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37320" y="5603345"/>
            <a:ext cx="9612129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3. Onde estamos indo ?                                                                                                                     </a:t>
            </a:r>
          </a:p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2" name="Retângulo 1"/>
          <p:cNvSpPr/>
          <p:nvPr/>
        </p:nvSpPr>
        <p:spPr>
          <a:xfrm>
            <a:off x="8185779" y="2897900"/>
            <a:ext cx="4094618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100" dirty="0">
                <a:solidFill>
                  <a:schemeClr val="tx1"/>
                </a:solidFill>
              </a:rPr>
              <a:t>PROPÓSITO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8185779" y="4236070"/>
            <a:ext cx="4094618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100" dirty="0">
                <a:solidFill>
                  <a:schemeClr val="tx1"/>
                </a:solidFill>
              </a:rPr>
              <a:t>MISSÃO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8185779" y="5575548"/>
            <a:ext cx="4094618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100" dirty="0">
                <a:solidFill>
                  <a:schemeClr val="tx1"/>
                </a:solidFill>
              </a:rPr>
              <a:t>VISÃ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9B4D41FD-167A-30B6-01AE-B390EA3C7A79}"/>
              </a:ext>
            </a:extLst>
          </p:cNvPr>
          <p:cNvSpPr txBox="1"/>
          <p:nvPr/>
        </p:nvSpPr>
        <p:spPr>
          <a:xfrm>
            <a:off x="737320" y="6960981"/>
            <a:ext cx="9612129" cy="950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47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. Como nós fazemos isso  ?                                                                                                                     </a:t>
            </a:r>
          </a:p>
          <a:p>
            <a:pPr algn="just"/>
            <a:r>
              <a:rPr lang="pt-BR" sz="247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67D1613-9689-6401-2125-67497078CBB3}"/>
              </a:ext>
            </a:extLst>
          </p:cNvPr>
          <p:cNvSpPr/>
          <p:nvPr/>
        </p:nvSpPr>
        <p:spPr>
          <a:xfrm>
            <a:off x="8185779" y="6932213"/>
            <a:ext cx="4094618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038" dirty="0">
                <a:solidFill>
                  <a:schemeClr val="tx1"/>
                </a:solidFill>
              </a:rPr>
              <a:t>VALORE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BFFDDD4-9F80-3804-F1AD-F8D79B329001}"/>
              </a:ext>
            </a:extLst>
          </p:cNvPr>
          <p:cNvSpPr/>
          <p:nvPr/>
        </p:nvSpPr>
        <p:spPr>
          <a:xfrm>
            <a:off x="8298160" y="7978676"/>
            <a:ext cx="444269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a importância que as organizações dão pra determinadas coisas dentro da empresa. Eles demonstram as prioridades e o que vai sustentar suas ações.</a:t>
            </a:r>
          </a:p>
        </p:txBody>
      </p:sp>
    </p:spTree>
    <p:extLst>
      <p:ext uri="{BB962C8B-B14F-4D97-AF65-F5344CB8AC3E}">
        <p14:creationId xmlns:p14="http://schemas.microsoft.com/office/powerpoint/2010/main" val="2752463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 animBg="1"/>
      <p:bldP spid="3" grpId="0"/>
      <p:bldP spid="4" grpId="0" animBg="1"/>
      <p:bldP spid="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737320" y="1255068"/>
            <a:ext cx="10039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</a:rPr>
              <a:t>Cultura declarada e praticada</a:t>
            </a:r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771656" y="2983260"/>
            <a:ext cx="10503836" cy="1311793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marL="482171" indent="-482171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declaração de valores representa um farol: indica o caminho;</a:t>
            </a:r>
          </a:p>
          <a:p>
            <a:pPr marL="482171" indent="-482171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31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82171" indent="-482171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r vezes é uma intenção;</a:t>
            </a:r>
          </a:p>
          <a:p>
            <a:pPr marL="482171" indent="-482171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31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82171" indent="-482171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Valores servem de guia para as atitudes e comportamentos que devemos exercer para apoiar a estratégia e conduzir o negócio.” </a:t>
            </a:r>
            <a:endParaRPr lang="en-US" sz="3100" i="1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40766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 txBox="1">
            <a:spLocks/>
          </p:cNvSpPr>
          <p:nvPr/>
        </p:nvSpPr>
        <p:spPr>
          <a:xfrm>
            <a:off x="793780" y="2800469"/>
            <a:ext cx="10523890" cy="1311793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algn="just">
              <a:buClr>
                <a:schemeClr val="tx1"/>
              </a:buClr>
            </a:pPr>
            <a:r>
              <a:rPr lang="pt-BR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Um dos grandes mitos desta área é o de que a cultura de uma organização está intimamente relacionada com sua declaração de valores. A menos que a organização tenha trabalhado ativamente com seus valores será apenas uma intenção. Uma boa intenção, é uma boa coisa de ter, mas quase certamente não descreverá a cultura tal como ela é . “</a:t>
            </a:r>
            <a:endParaRPr lang="en-US" sz="3100" i="1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9954344" y="6439644"/>
            <a:ext cx="34563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olyn Taylor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0261D1C-FF2A-EEB6-C690-76CFA2AAFD13}"/>
              </a:ext>
            </a:extLst>
          </p:cNvPr>
          <p:cNvSpPr txBox="1"/>
          <p:nvPr/>
        </p:nvSpPr>
        <p:spPr>
          <a:xfrm>
            <a:off x="793780" y="1076996"/>
            <a:ext cx="10039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</a:rPr>
              <a:t>Cultura declarada e praticada</a:t>
            </a:r>
          </a:p>
        </p:txBody>
      </p:sp>
    </p:spTree>
    <p:extLst>
      <p:ext uri="{BB962C8B-B14F-4D97-AF65-F5344CB8AC3E}">
        <p14:creationId xmlns:p14="http://schemas.microsoft.com/office/powerpoint/2010/main" val="3392212934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0261D1C-FF2A-EEB6-C690-76CFA2AAFD13}"/>
              </a:ext>
            </a:extLst>
          </p:cNvPr>
          <p:cNvSpPr txBox="1"/>
          <p:nvPr/>
        </p:nvSpPr>
        <p:spPr>
          <a:xfrm>
            <a:off x="793780" y="1076996"/>
            <a:ext cx="100398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</a:rPr>
              <a:t>As empresas possuem culturas uniformes ?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1C34EDDB-06DD-05C8-57F3-A33119C8FAAF}"/>
              </a:ext>
            </a:extLst>
          </p:cNvPr>
          <p:cNvSpPr txBox="1"/>
          <p:nvPr/>
        </p:nvSpPr>
        <p:spPr>
          <a:xfrm>
            <a:off x="802502" y="2695228"/>
            <a:ext cx="12176178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</a:rPr>
              <a:t>Cultura dominante: que expressa os valores essenciais compartilhados pela maioria dos membros da organização;</a:t>
            </a: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3100" dirty="0">
              <a:latin typeface="+mn-lt"/>
            </a:endParaRPr>
          </a:p>
          <a:p>
            <a:pPr marL="457200" indent="-457200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</a:rPr>
              <a:t>Subculturas: culturas dentro da organização que expressam valores compartilhados por alguns grupos da organização. (geracional, regional, gênero, nível social); </a:t>
            </a:r>
          </a:p>
        </p:txBody>
      </p:sp>
    </p:spTree>
    <p:extLst>
      <p:ext uri="{BB962C8B-B14F-4D97-AF65-F5344CB8AC3E}">
        <p14:creationId xmlns:p14="http://schemas.microsoft.com/office/powerpoint/2010/main" val="41387601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762588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3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30% referente às participações em sala de aula </a:t>
            </a:r>
            <a:r>
              <a:rPr lang="pt-PT" sz="31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as atividades em grupo e da apresentação dos estudos de casos no dia 23/03;</a:t>
            </a:r>
            <a:endParaRPr lang="pt-BR" sz="3100" b="1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62588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3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70% referente à avaliação individual, sob a forma de prova, a ser realizada após o término da disciplina</a:t>
            </a:r>
            <a:r>
              <a:rPr lang="pt-PT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pt-B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pt-BR" dirty="0"/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30000"/>
              </a:lnSpc>
              <a:buClr>
                <a:srgbClr val="69ADE7"/>
              </a:buClr>
            </a:pPr>
            <a:r>
              <a:rPr lang="pt-BR" dirty="0"/>
              <a:t>Critério de avaliaçã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2450" y="3194304"/>
            <a:ext cx="5852160" cy="389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9068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BEC2EA81-A04D-AA51-7AEC-7C449BB69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9608" y="3991372"/>
            <a:ext cx="10783491" cy="1285875"/>
          </a:xfrm>
        </p:spPr>
        <p:txBody>
          <a:bodyPr anchor="t" anchorCtr="0">
            <a:noAutofit/>
          </a:bodyPr>
          <a:lstStyle/>
          <a:p>
            <a:pPr algn="l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Cultura,  estratégia e liderança </a:t>
            </a:r>
            <a:endParaRPr lang="pt-BR" sz="4000" b="1" dirty="0">
              <a:solidFill>
                <a:srgbClr val="69ADE7"/>
              </a:solidFill>
              <a:latin typeface="Calibri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532542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BEC2EA81-A04D-AA51-7AEC-7C449BB69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979" y="993841"/>
            <a:ext cx="10783491" cy="1285875"/>
          </a:xfrm>
        </p:spPr>
        <p:txBody>
          <a:bodyPr anchor="t" anchorCtr="0">
            <a:noAutofit/>
          </a:bodyPr>
          <a:lstStyle/>
          <a:p>
            <a:pPr algn="l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Como a cultura influência a estratégia</a:t>
            </a:r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?</a:t>
            </a:r>
          </a:p>
        </p:txBody>
      </p:sp>
      <p:graphicFrame>
        <p:nvGraphicFramePr>
          <p:cNvPr id="22" name="Espaço Reservado para Conteúdo 3">
            <a:extLst>
              <a:ext uri="{FF2B5EF4-FFF2-40B4-BE49-F238E27FC236}">
                <a16:creationId xmlns:a16="http://schemas.microsoft.com/office/drawing/2014/main" id="{D02999B0-CF25-D6A8-DD0F-1F3EDFB3A3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031603"/>
              </p:ext>
            </p:extLst>
          </p:nvPr>
        </p:nvGraphicFramePr>
        <p:xfrm>
          <a:off x="932612" y="3820599"/>
          <a:ext cx="10783491" cy="4400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3" name="Grupo 16">
            <a:extLst>
              <a:ext uri="{FF2B5EF4-FFF2-40B4-BE49-F238E27FC236}">
                <a16:creationId xmlns:a16="http://schemas.microsoft.com/office/drawing/2014/main" id="{27A1B335-CE55-B3D6-9801-905E8678EED9}"/>
              </a:ext>
            </a:extLst>
          </p:cNvPr>
          <p:cNvGrpSpPr/>
          <p:nvPr/>
        </p:nvGrpSpPr>
        <p:grpSpPr>
          <a:xfrm>
            <a:off x="2286171" y="7735142"/>
            <a:ext cx="2314348" cy="486007"/>
            <a:chOff x="0" y="4231390"/>
            <a:chExt cx="2057399" cy="153168"/>
          </a:xfrm>
        </p:grpSpPr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45DA5014-E6B9-9C28-8824-EF92E277DCCA}"/>
                </a:ext>
              </a:extLst>
            </p:cNvPr>
            <p:cNvSpPr/>
            <p:nvPr/>
          </p:nvSpPr>
          <p:spPr>
            <a:xfrm>
              <a:off x="0" y="4231390"/>
              <a:ext cx="2057399" cy="153168"/>
            </a:xfrm>
            <a:prstGeom prst="rect">
              <a:avLst/>
            </a:prstGeom>
            <a:solidFill>
              <a:srgbClr val="61D836">
                <a:tint val="40000"/>
                <a:alpha val="9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61D836">
                  <a:tint val="40000"/>
                  <a:alpha val="90000"/>
                  <a:hueOff val="0"/>
                  <a:satOff val="0"/>
                  <a:lumOff val="0"/>
                  <a:alphaOff val="0"/>
                  <a:shade val="95000"/>
                  <a:satMod val="104999"/>
                </a:srgbClr>
              </a:solidFill>
              <a:prstDash val="solid"/>
            </a:ln>
            <a:effectLst/>
          </p:spPr>
          <p:txBody>
            <a:bodyPr/>
            <a:lstStyle/>
            <a:p>
              <a:pPr marL="0" marR="0" lvl="0" indent="0" algn="ctr" defTabSz="464344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88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Krub Medium"/>
                <a:ea typeface="Verdana"/>
                <a:sym typeface="Helvetica Neue"/>
              </a:endParaRPr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18D75162-F9CA-7F45-9208-784BD93C6053}"/>
                </a:ext>
              </a:extLst>
            </p:cNvPr>
            <p:cNvSpPr/>
            <p:nvPr/>
          </p:nvSpPr>
          <p:spPr>
            <a:xfrm>
              <a:off x="0" y="4231390"/>
              <a:ext cx="2057399" cy="1531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2003" tIns="20001" rIns="112003" bIns="20001" numCol="1" spcCol="1270" anchor="ctr" anchorCtr="0">
              <a:noAutofit/>
            </a:bodyPr>
            <a:lstStyle/>
            <a:p>
              <a:pPr marL="0" marR="0" lvl="0" indent="0" algn="ctr" defTabSz="700024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  <a:t>Entrega percebida</a:t>
              </a:r>
            </a:p>
          </p:txBody>
        </p:sp>
      </p:grpSp>
      <p:grpSp>
        <p:nvGrpSpPr>
          <p:cNvPr id="26" name="Grupo 17">
            <a:extLst>
              <a:ext uri="{FF2B5EF4-FFF2-40B4-BE49-F238E27FC236}">
                <a16:creationId xmlns:a16="http://schemas.microsoft.com/office/drawing/2014/main" id="{825E41B9-22C2-BE27-F8E8-6706E463396D}"/>
              </a:ext>
            </a:extLst>
          </p:cNvPr>
          <p:cNvGrpSpPr/>
          <p:nvPr/>
        </p:nvGrpSpPr>
        <p:grpSpPr>
          <a:xfrm>
            <a:off x="4600520" y="7735142"/>
            <a:ext cx="2314348" cy="486007"/>
            <a:chOff x="2057400" y="4231390"/>
            <a:chExt cx="2057399" cy="153168"/>
          </a:xfrm>
        </p:grpSpPr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9FD5F8A6-878C-DFC7-DA03-72B0CC7ACD0A}"/>
                </a:ext>
              </a:extLst>
            </p:cNvPr>
            <p:cNvSpPr/>
            <p:nvPr/>
          </p:nvSpPr>
          <p:spPr>
            <a:xfrm>
              <a:off x="2057400" y="4231390"/>
              <a:ext cx="2057399" cy="153168"/>
            </a:xfrm>
            <a:prstGeom prst="rect">
              <a:avLst/>
            </a:prstGeom>
            <a:solidFill>
              <a:srgbClr val="61D836">
                <a:tint val="40000"/>
                <a:alpha val="90000"/>
                <a:hueOff val="3572283"/>
                <a:satOff val="-4598"/>
                <a:lumOff val="-358"/>
                <a:alphaOff val="0"/>
              </a:srgbClr>
            </a:solidFill>
            <a:ln w="9525" cap="flat" cmpd="sng" algn="ctr">
              <a:solidFill>
                <a:srgbClr val="61D836">
                  <a:tint val="40000"/>
                  <a:alpha val="90000"/>
                  <a:hueOff val="3572283"/>
                  <a:satOff val="-4598"/>
                  <a:lumOff val="-358"/>
                  <a:alphaOff val="0"/>
                  <a:shade val="95000"/>
                  <a:satMod val="104999"/>
                </a:srgbClr>
              </a:solidFill>
              <a:prstDash val="solid"/>
            </a:ln>
            <a:effectLst/>
          </p:spPr>
          <p:txBody>
            <a:bodyPr/>
            <a:lstStyle/>
            <a:p>
              <a:pPr marL="0" marR="0" lvl="0" indent="0" algn="ctr" defTabSz="464344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88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Krub Medium"/>
                <a:ea typeface="Verdana"/>
                <a:sym typeface="Helvetica Neue"/>
              </a:endParaRPr>
            </a:p>
          </p:txBody>
        </p:sp>
        <p:sp>
          <p:nvSpPr>
            <p:cNvPr id="28" name="Retângulo 27">
              <a:extLst>
                <a:ext uri="{FF2B5EF4-FFF2-40B4-BE49-F238E27FC236}">
                  <a16:creationId xmlns:a16="http://schemas.microsoft.com/office/drawing/2014/main" id="{7B835C49-D142-CA7E-9A4A-0111B33EBADB}"/>
                </a:ext>
              </a:extLst>
            </p:cNvPr>
            <p:cNvSpPr/>
            <p:nvPr/>
          </p:nvSpPr>
          <p:spPr>
            <a:xfrm>
              <a:off x="2057400" y="4231390"/>
              <a:ext cx="2057399" cy="1531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2003" tIns="20001" rIns="112003" bIns="20001" numCol="1" spcCol="1270" anchor="ctr" anchorCtr="0">
              <a:noAutofit/>
            </a:bodyPr>
            <a:lstStyle/>
            <a:p>
              <a:pPr marL="0" marR="0" lvl="0" indent="0" algn="ctr" defTabSz="700024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  <a:t>Sociedade atendida</a:t>
              </a:r>
            </a:p>
          </p:txBody>
        </p:sp>
      </p:grpSp>
      <p:grpSp>
        <p:nvGrpSpPr>
          <p:cNvPr id="29" name="Grupo 18">
            <a:extLst>
              <a:ext uri="{FF2B5EF4-FFF2-40B4-BE49-F238E27FC236}">
                <a16:creationId xmlns:a16="http://schemas.microsoft.com/office/drawing/2014/main" id="{ED13F3FB-12A3-91B7-6E36-870714465506}"/>
              </a:ext>
            </a:extLst>
          </p:cNvPr>
          <p:cNvGrpSpPr/>
          <p:nvPr/>
        </p:nvGrpSpPr>
        <p:grpSpPr>
          <a:xfrm>
            <a:off x="6914869" y="7735142"/>
            <a:ext cx="2314348" cy="486007"/>
            <a:chOff x="4114800" y="4231390"/>
            <a:chExt cx="2057399" cy="153168"/>
          </a:xfrm>
        </p:grpSpPr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9EA52778-B5D1-837F-4622-1E0192FA636F}"/>
                </a:ext>
              </a:extLst>
            </p:cNvPr>
            <p:cNvSpPr/>
            <p:nvPr/>
          </p:nvSpPr>
          <p:spPr>
            <a:xfrm>
              <a:off x="4114800" y="4231390"/>
              <a:ext cx="2057399" cy="153168"/>
            </a:xfrm>
            <a:prstGeom prst="rect">
              <a:avLst/>
            </a:prstGeom>
            <a:solidFill>
              <a:srgbClr val="61D836">
                <a:tint val="40000"/>
                <a:alpha val="90000"/>
                <a:hueOff val="7144567"/>
                <a:satOff val="-9195"/>
                <a:lumOff val="-717"/>
                <a:alphaOff val="0"/>
              </a:srgbClr>
            </a:solidFill>
            <a:ln w="9525" cap="flat" cmpd="sng" algn="ctr">
              <a:solidFill>
                <a:srgbClr val="61D836">
                  <a:tint val="40000"/>
                  <a:alpha val="90000"/>
                  <a:hueOff val="7144567"/>
                  <a:satOff val="-9195"/>
                  <a:lumOff val="-717"/>
                  <a:alphaOff val="0"/>
                  <a:shade val="95000"/>
                  <a:satMod val="104999"/>
                </a:srgbClr>
              </a:solidFill>
              <a:prstDash val="solid"/>
            </a:ln>
            <a:effectLst/>
          </p:spPr>
          <p:txBody>
            <a:bodyPr/>
            <a:lstStyle/>
            <a:p>
              <a:pPr marL="0" marR="0" lvl="0" indent="0" algn="ctr" defTabSz="464344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88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Krub Medium"/>
                <a:ea typeface="Verdana"/>
                <a:sym typeface="Helvetica Neue"/>
              </a:endParaRPr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5FCE47A0-3D73-BEF9-9EBF-C22F1E92D252}"/>
                </a:ext>
              </a:extLst>
            </p:cNvPr>
            <p:cNvSpPr/>
            <p:nvPr/>
          </p:nvSpPr>
          <p:spPr>
            <a:xfrm>
              <a:off x="4114800" y="4231390"/>
              <a:ext cx="2057399" cy="1531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2003" tIns="20001" rIns="112003" bIns="20001" numCol="1" spcCol="1270" anchor="ctr" anchorCtr="0">
              <a:noAutofit/>
            </a:bodyPr>
            <a:lstStyle/>
            <a:p>
              <a:pPr marL="0" marR="0" lvl="0" indent="0" algn="ctr" defTabSz="700024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  <a:t>Processos eficientes</a:t>
              </a:r>
              <a:b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</a:br>
              <a: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  <a:t> e efetivos</a:t>
              </a:r>
            </a:p>
          </p:txBody>
        </p:sp>
      </p:grpSp>
      <p:grpSp>
        <p:nvGrpSpPr>
          <p:cNvPr id="32" name="Grupo 19">
            <a:extLst>
              <a:ext uri="{FF2B5EF4-FFF2-40B4-BE49-F238E27FC236}">
                <a16:creationId xmlns:a16="http://schemas.microsoft.com/office/drawing/2014/main" id="{47A33926-77EB-5DF8-870F-3ED06C3F0C58}"/>
              </a:ext>
            </a:extLst>
          </p:cNvPr>
          <p:cNvGrpSpPr/>
          <p:nvPr/>
        </p:nvGrpSpPr>
        <p:grpSpPr>
          <a:xfrm>
            <a:off x="9229217" y="7735142"/>
            <a:ext cx="2314348" cy="486007"/>
            <a:chOff x="6172199" y="4231390"/>
            <a:chExt cx="2057399" cy="153168"/>
          </a:xfrm>
        </p:grpSpPr>
        <p:sp>
          <p:nvSpPr>
            <p:cNvPr id="33" name="Retângulo 32">
              <a:extLst>
                <a:ext uri="{FF2B5EF4-FFF2-40B4-BE49-F238E27FC236}">
                  <a16:creationId xmlns:a16="http://schemas.microsoft.com/office/drawing/2014/main" id="{88A0F10F-0FA5-428C-6947-6A73E0551F03}"/>
                </a:ext>
              </a:extLst>
            </p:cNvPr>
            <p:cNvSpPr/>
            <p:nvPr/>
          </p:nvSpPr>
          <p:spPr>
            <a:xfrm>
              <a:off x="6172199" y="4231390"/>
              <a:ext cx="2057399" cy="153168"/>
            </a:xfrm>
            <a:prstGeom prst="rect">
              <a:avLst/>
            </a:prstGeom>
            <a:solidFill>
              <a:srgbClr val="61D836">
                <a:tint val="40000"/>
                <a:alpha val="90000"/>
                <a:hueOff val="10716850"/>
                <a:satOff val="-13793"/>
                <a:lumOff val="-1075"/>
                <a:alphaOff val="0"/>
              </a:srgbClr>
            </a:solidFill>
            <a:ln w="9525" cap="flat" cmpd="sng" algn="ctr">
              <a:solidFill>
                <a:srgbClr val="61D836">
                  <a:tint val="40000"/>
                  <a:alpha val="90000"/>
                  <a:hueOff val="10716850"/>
                  <a:satOff val="-13793"/>
                  <a:lumOff val="-1075"/>
                  <a:alphaOff val="0"/>
                  <a:shade val="95000"/>
                  <a:satMod val="104999"/>
                </a:srgbClr>
              </a:solidFill>
              <a:prstDash val="solid"/>
            </a:ln>
            <a:effectLst/>
          </p:spPr>
          <p:txBody>
            <a:bodyPr/>
            <a:lstStyle/>
            <a:p>
              <a:pPr marL="0" marR="0" lvl="0" indent="0" algn="ctr" defTabSz="464344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88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Krub Medium"/>
                <a:ea typeface="Verdana"/>
                <a:sym typeface="Helvetica Neue"/>
              </a:endParaRPr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CAFF5E77-EB2B-D09D-503D-5CE5B0F16055}"/>
                </a:ext>
              </a:extLst>
            </p:cNvPr>
            <p:cNvSpPr/>
            <p:nvPr/>
          </p:nvSpPr>
          <p:spPr>
            <a:xfrm>
              <a:off x="6172199" y="4231390"/>
              <a:ext cx="2057399" cy="1531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2003" tIns="20001" rIns="112003" bIns="20001" numCol="1" spcCol="1270" anchor="ctr" anchorCtr="0">
              <a:noAutofit/>
            </a:bodyPr>
            <a:lstStyle/>
            <a:p>
              <a:pPr marL="0" marR="0" lvl="0" indent="0" algn="ctr" defTabSz="700024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  <a:t>Equipe preparada </a:t>
              </a:r>
              <a:b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</a:br>
              <a:r>
                <a:rPr kumimoji="0" lang="pt-BR" sz="1575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Krub Medium"/>
                  <a:ea typeface="Verdana"/>
                  <a:sym typeface="Helvetica Neue"/>
                </a:rPr>
                <a:t>e motivada</a:t>
              </a:r>
            </a:p>
          </p:txBody>
        </p:sp>
      </p:grpSp>
      <p:sp>
        <p:nvSpPr>
          <p:cNvPr id="35" name="Triângulo retângulo 15">
            <a:extLst>
              <a:ext uri="{FF2B5EF4-FFF2-40B4-BE49-F238E27FC236}">
                <a16:creationId xmlns:a16="http://schemas.microsoft.com/office/drawing/2014/main" id="{8D565873-C08A-009F-8D15-85FCA9961635}"/>
              </a:ext>
            </a:extLst>
          </p:cNvPr>
          <p:cNvSpPr/>
          <p:nvPr/>
        </p:nvSpPr>
        <p:spPr>
          <a:xfrm rot="10800000">
            <a:off x="7319872" y="2713078"/>
            <a:ext cx="4396231" cy="5427074"/>
          </a:xfrm>
          <a:prstGeom prst="rtTriangle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64344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63" b="1" i="0" u="none" strike="noStrike" kern="0" cap="none" spc="0" normalizeH="0" baseline="0" noProof="0">
              <a:ln>
                <a:solidFill>
                  <a:srgbClr val="FFFFFF"/>
                </a:solidFill>
              </a:ln>
              <a:solidFill>
                <a:srgbClr val="000000"/>
              </a:solidFill>
              <a:effectLst/>
              <a:uLnTx/>
              <a:uFillTx/>
              <a:latin typeface="Krub Medium"/>
              <a:ea typeface="Verdana"/>
              <a:sym typeface="Helvetica Neue"/>
            </a:endParaRPr>
          </a:p>
        </p:txBody>
      </p:sp>
      <p:sp>
        <p:nvSpPr>
          <p:cNvPr id="36" name="Triângulo retângulo 30">
            <a:extLst>
              <a:ext uri="{FF2B5EF4-FFF2-40B4-BE49-F238E27FC236}">
                <a16:creationId xmlns:a16="http://schemas.microsoft.com/office/drawing/2014/main" id="{049CC0DA-135C-A4FF-1C38-018465CBC776}"/>
              </a:ext>
            </a:extLst>
          </p:cNvPr>
          <p:cNvSpPr/>
          <p:nvPr/>
        </p:nvSpPr>
        <p:spPr>
          <a:xfrm rot="5400000">
            <a:off x="673353" y="2956754"/>
            <a:ext cx="5243758" cy="5099311"/>
          </a:xfrm>
          <a:prstGeom prst="rtTriangle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  <a:scene3d>
            <a:camera prst="orthographicFront">
              <a:rot lat="21599991" lon="0" rev="0"/>
            </a:camera>
            <a:lightRig rig="threePt" dir="t"/>
          </a:scene3d>
        </p:spPr>
        <p:txBody>
          <a:bodyPr rtlCol="0" anchor="ctr"/>
          <a:lstStyle/>
          <a:p>
            <a:pPr marL="0" marR="0" lvl="0" indent="0" algn="ctr" defTabSz="464344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63" b="1" i="0" u="none" strike="noStrike" kern="0" cap="none" spc="0" normalizeH="0" baseline="0" noProof="0">
              <a:ln>
                <a:solidFill>
                  <a:srgbClr val="FFFFFF"/>
                </a:solidFill>
              </a:ln>
              <a:solidFill>
                <a:srgbClr val="000000"/>
              </a:solidFill>
              <a:effectLst/>
              <a:uLnTx/>
              <a:uFillTx/>
              <a:latin typeface="Krub Medium"/>
              <a:ea typeface="Verdana"/>
              <a:sym typeface="Helvetica Neue"/>
            </a:endParaRPr>
          </a:p>
        </p:txBody>
      </p:sp>
      <p:sp>
        <p:nvSpPr>
          <p:cNvPr id="37" name="Freeform 29">
            <a:extLst>
              <a:ext uri="{FF2B5EF4-FFF2-40B4-BE49-F238E27FC236}">
                <a16:creationId xmlns:a16="http://schemas.microsoft.com/office/drawing/2014/main" id="{BD4691BC-4348-0102-83E8-A57AED0D9903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5167479" y="3764756"/>
            <a:ext cx="2348771" cy="98024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16E7CF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tIns="102860" bIns="102860" anchor="ctr"/>
          <a:lstStyle/>
          <a:p>
            <a:pPr marL="0" marR="0" lvl="0" indent="0" algn="ctr" defTabSz="464344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75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Verdana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016464865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511" y="1638479"/>
            <a:ext cx="12136977" cy="6854310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789511" y="8796603"/>
            <a:ext cx="12136977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2250" i="1" kern="0" dirty="0">
                <a:latin typeface="+mn-lt"/>
                <a:cs typeface="Calibri" panose="020F0502020204030204" pitchFamily="34" charset="0"/>
              </a:rPr>
              <a:t>*9 em cada 10 executivos afirmaram que essa temática é uma pauta essencial e prioritária. </a:t>
            </a:r>
          </a:p>
          <a:p>
            <a:pPr eaLnBrk="0" hangingPunct="0">
              <a:spcBef>
                <a:spcPct val="20000"/>
              </a:spcBef>
            </a:pPr>
            <a:r>
              <a:rPr lang="pt-BR" i="1" kern="0" dirty="0" err="1">
                <a:latin typeface="+mn-lt"/>
                <a:cs typeface="Calibri" panose="020F0502020204030204" pitchFamily="34" charset="0"/>
              </a:rPr>
              <a:t>Human</a:t>
            </a:r>
            <a:r>
              <a:rPr lang="pt-BR" i="1" kern="0" dirty="0">
                <a:latin typeface="+mn-lt"/>
                <a:cs typeface="Calibri" panose="020F0502020204030204" pitchFamily="34" charset="0"/>
              </a:rPr>
              <a:t> Capital </a:t>
            </a:r>
            <a:r>
              <a:rPr lang="pt-BR" i="1" kern="0" dirty="0" err="1">
                <a:latin typeface="+mn-lt"/>
                <a:cs typeface="Calibri" panose="020F0502020204030204" pitchFamily="34" charset="0"/>
              </a:rPr>
              <a:t>Trends</a:t>
            </a:r>
            <a:r>
              <a:rPr lang="pt-BR" i="1" kern="0" dirty="0">
                <a:latin typeface="+mn-lt"/>
                <a:cs typeface="Calibri" panose="020F0502020204030204" pitchFamily="34" charset="0"/>
              </a:rPr>
              <a:t>, Deloitte, 2019.</a:t>
            </a:r>
            <a:endParaRPr lang="pt-BR" sz="2250" i="1" kern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54274" name="Título 1"/>
          <p:cNvSpPr>
            <a:spLocks noGrp="1"/>
          </p:cNvSpPr>
          <p:nvPr>
            <p:ph type="title" idx="4294967295"/>
          </p:nvPr>
        </p:nvSpPr>
        <p:spPr bwMode="auto">
          <a:xfrm>
            <a:off x="-1782960" y="251162"/>
            <a:ext cx="109728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b="1" dirty="0">
                <a:solidFill>
                  <a:srgbClr val="69ADE7"/>
                </a:solidFill>
              </a:rPr>
              <a:t>Por que a cultura importa ?</a:t>
            </a:r>
            <a:endParaRPr lang="pt-BR" altLang="pt-BR" sz="41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ítulo 1"/>
          <p:cNvSpPr txBox="1">
            <a:spLocks/>
          </p:cNvSpPr>
          <p:nvPr/>
        </p:nvSpPr>
        <p:spPr bwMode="auto">
          <a:xfrm>
            <a:off x="5512308" y="2556927"/>
            <a:ext cx="2939264" cy="67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153" tIns="38576" rIns="77153" bIns="38576" numCol="1" anchor="t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altLang="pt-BR" sz="30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Liderança</a:t>
            </a:r>
          </a:p>
        </p:txBody>
      </p:sp>
      <p:sp>
        <p:nvSpPr>
          <p:cNvPr id="19" name="Título 1"/>
          <p:cNvSpPr txBox="1">
            <a:spLocks/>
          </p:cNvSpPr>
          <p:nvPr/>
        </p:nvSpPr>
        <p:spPr bwMode="auto">
          <a:xfrm>
            <a:off x="203792" y="3230071"/>
            <a:ext cx="2939264" cy="67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153" tIns="38576" rIns="77153" bIns="38576" numCol="1" anchor="t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altLang="pt-BR" sz="33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*</a:t>
            </a:r>
          </a:p>
        </p:txBody>
      </p:sp>
      <p:sp>
        <p:nvSpPr>
          <p:cNvPr id="7" name="Elipse 6"/>
          <p:cNvSpPr/>
          <p:nvPr/>
        </p:nvSpPr>
        <p:spPr>
          <a:xfrm>
            <a:off x="5512308" y="5405120"/>
            <a:ext cx="3294366" cy="9265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20" name="Título 1"/>
          <p:cNvSpPr txBox="1">
            <a:spLocks/>
          </p:cNvSpPr>
          <p:nvPr/>
        </p:nvSpPr>
        <p:spPr bwMode="auto">
          <a:xfrm>
            <a:off x="5749744" y="5547532"/>
            <a:ext cx="2939264" cy="67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153" tIns="38576" rIns="77153" bIns="38576" numCol="1" anchor="t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altLang="pt-BR" sz="3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linhamento</a:t>
            </a:r>
          </a:p>
        </p:txBody>
      </p:sp>
      <p:sp>
        <p:nvSpPr>
          <p:cNvPr id="22" name="Título 1"/>
          <p:cNvSpPr txBox="1">
            <a:spLocks/>
          </p:cNvSpPr>
          <p:nvPr/>
        </p:nvSpPr>
        <p:spPr bwMode="auto">
          <a:xfrm>
            <a:off x="10179369" y="5115962"/>
            <a:ext cx="2916324" cy="578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153" tIns="38576" rIns="77153" bIns="38576" numCol="1" anchor="t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altLang="pt-BR" sz="45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xecução Eficaz</a:t>
            </a:r>
          </a:p>
        </p:txBody>
      </p:sp>
      <p:sp>
        <p:nvSpPr>
          <p:cNvPr id="8" name="Igual 7"/>
          <p:cNvSpPr/>
          <p:nvPr/>
        </p:nvSpPr>
        <p:spPr>
          <a:xfrm>
            <a:off x="8964234" y="5258507"/>
            <a:ext cx="905031" cy="1073126"/>
          </a:xfrm>
          <a:prstGeom prst="mathEqual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>
              <a:solidFill>
                <a:schemeClr val="tx1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8EE2B89-A1C4-00BF-6F21-0FED7C0A8B70}"/>
              </a:ext>
            </a:extLst>
          </p:cNvPr>
          <p:cNvSpPr txBox="1">
            <a:spLocks/>
          </p:cNvSpPr>
          <p:nvPr/>
        </p:nvSpPr>
        <p:spPr bwMode="auto">
          <a:xfrm>
            <a:off x="1673424" y="6700703"/>
            <a:ext cx="2939264" cy="67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153" tIns="38576" rIns="77153" bIns="38576" numCol="1" anchor="t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altLang="pt-BR" sz="30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stratégia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25D4E327-E4B1-5EDC-6845-99716CB4D711}"/>
              </a:ext>
            </a:extLst>
          </p:cNvPr>
          <p:cNvSpPr/>
          <p:nvPr/>
        </p:nvSpPr>
        <p:spPr>
          <a:xfrm>
            <a:off x="9869265" y="8509907"/>
            <a:ext cx="3628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i="1" dirty="0">
                <a:latin typeface="+mn-lt"/>
              </a:rPr>
              <a:t>Créditos da imagem </a:t>
            </a:r>
            <a:r>
              <a:rPr lang="pt-BR" sz="1600" i="1" dirty="0" err="1">
                <a:latin typeface="+mn-lt"/>
              </a:rPr>
              <a:t>Pixabay</a:t>
            </a:r>
            <a:endParaRPr lang="pt-BR" sz="1600" i="1" dirty="0">
              <a:latin typeface="+mn-lt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2AE7EBA-7FFF-2ED3-A50A-C7AF01011C49}"/>
              </a:ext>
            </a:extLst>
          </p:cNvPr>
          <p:cNvSpPr txBox="1"/>
          <p:nvPr/>
        </p:nvSpPr>
        <p:spPr>
          <a:xfrm>
            <a:off x="2333618" y="7210175"/>
            <a:ext cx="502843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i="1" dirty="0">
                <a:solidFill>
                  <a:schemeClr val="bg1"/>
                </a:solidFill>
                <a:latin typeface="+mn-lt"/>
              </a:rPr>
              <a:t>“oferece uma lógica formal para as metas da empresa e orienta as pessoas em torno delas”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39A87B8F-CC56-3640-6266-2C28EA9D2623}"/>
              </a:ext>
            </a:extLst>
          </p:cNvPr>
          <p:cNvSpPr txBox="1"/>
          <p:nvPr/>
        </p:nvSpPr>
        <p:spPr>
          <a:xfrm>
            <a:off x="863986" y="3742195"/>
            <a:ext cx="29392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i="1" dirty="0">
                <a:solidFill>
                  <a:schemeClr val="bg1"/>
                </a:solidFill>
                <a:latin typeface="+mn-lt"/>
              </a:rPr>
              <a:t>“</a:t>
            </a:r>
            <a:r>
              <a:rPr lang="pt-BR" dirty="0"/>
              <a:t> </a:t>
            </a:r>
            <a:r>
              <a:rPr lang="pt-BR" sz="2000" i="1" dirty="0">
                <a:solidFill>
                  <a:schemeClr val="bg1"/>
                </a:solidFill>
                <a:latin typeface="+mn-lt"/>
              </a:rPr>
              <a:t>está ancorada em comportamentos, modos de pensar e padrões sociais tácitos;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0D9D3A6F-F053-3905-A33D-49C515B56DF4}"/>
              </a:ext>
            </a:extLst>
          </p:cNvPr>
          <p:cNvSpPr txBox="1"/>
          <p:nvPr/>
        </p:nvSpPr>
        <p:spPr>
          <a:xfrm>
            <a:off x="7325293" y="3164940"/>
            <a:ext cx="560119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i="1" dirty="0">
                <a:solidFill>
                  <a:schemeClr val="bg1"/>
                </a:solidFill>
                <a:latin typeface="+mn-lt"/>
              </a:rPr>
              <a:t>“A liderança segue de mãos dadas com a formação da estratégia, e a maioria dos líderes entende os fundamentos. Para o bem ou para o mal, a cultura e a liderança estão indissoluvelmente associadas.”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F848BFA2-24CC-2C4D-7EC2-675FBCDE3C4A}"/>
              </a:ext>
            </a:extLst>
          </p:cNvPr>
          <p:cNvSpPr/>
          <p:nvPr/>
        </p:nvSpPr>
        <p:spPr>
          <a:xfrm>
            <a:off x="4409728" y="9937379"/>
            <a:ext cx="1034589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Fonte: Harvard Business Review, Manual da cultura corporativa para o líder , 2018. </a:t>
            </a:r>
          </a:p>
        </p:txBody>
      </p:sp>
    </p:spTree>
    <p:extLst>
      <p:ext uri="{BB962C8B-B14F-4D97-AF65-F5344CB8AC3E}">
        <p14:creationId xmlns:p14="http://schemas.microsoft.com/office/powerpoint/2010/main" val="1495935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8" grpId="0"/>
      <p:bldP spid="19" grpId="0"/>
      <p:bldP spid="2" grpId="0"/>
      <p:bldP spid="11" grpId="0"/>
      <p:bldP spid="13" grpId="0"/>
      <p:bldP spid="1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9E885F3-0681-8B96-06EB-A04DEFC14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98657DE-3373-6BB4-70EC-4F2DB1610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880" y="1903140"/>
            <a:ext cx="5901778" cy="3937593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D51C9E13-1FE1-1F65-E46A-B41EA79DE4E6}"/>
              </a:ext>
            </a:extLst>
          </p:cNvPr>
          <p:cNvSpPr txBox="1"/>
          <p:nvPr/>
        </p:nvSpPr>
        <p:spPr>
          <a:xfrm>
            <a:off x="161256" y="2169738"/>
            <a:ext cx="378746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64344" fontAlgn="auto" hangingPunct="0">
              <a:spcAft>
                <a:spcPts val="0"/>
              </a:spcAft>
            </a:pPr>
            <a:r>
              <a:rPr lang="pt-BR" sz="3100" b="1" kern="0" dirty="0">
                <a:solidFill>
                  <a:srgbClr val="FFFFFF"/>
                </a:solidFill>
                <a:latin typeface="+mn-lt"/>
                <a:sym typeface="Helvetica Neue"/>
              </a:rPr>
              <a:t>Estratégia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1CD65F55-337C-5A91-A8BB-0A55BE7B8964}"/>
              </a:ext>
            </a:extLst>
          </p:cNvPr>
          <p:cNvSpPr txBox="1"/>
          <p:nvPr/>
        </p:nvSpPr>
        <p:spPr>
          <a:xfrm>
            <a:off x="3795769" y="4658104"/>
            <a:ext cx="381326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64344" fontAlgn="auto" hangingPunct="0">
              <a:spcAft>
                <a:spcPts val="0"/>
              </a:spcAft>
            </a:pPr>
            <a:r>
              <a:rPr lang="pt-BR" sz="3100" b="1" kern="0" dirty="0">
                <a:solidFill>
                  <a:srgbClr val="FFFFFF"/>
                </a:solidFill>
                <a:latin typeface="+mn-lt"/>
                <a:sym typeface="Helvetica Neue"/>
              </a:rPr>
              <a:t>Cultura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716ACEC-115A-9AD8-FA37-A8D001F1DAA9}"/>
              </a:ext>
            </a:extLst>
          </p:cNvPr>
          <p:cNvSpPr/>
          <p:nvPr/>
        </p:nvSpPr>
        <p:spPr>
          <a:xfrm>
            <a:off x="7142256" y="1903140"/>
            <a:ext cx="5544616" cy="1503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64344" eaLnBrk="0" hangingPunct="0">
              <a:spcBef>
                <a:spcPct val="20000"/>
              </a:spcBef>
            </a:pPr>
            <a:r>
              <a:rPr lang="pt-BR" sz="3100" b="1" i="1" kern="0" dirty="0">
                <a:solidFill>
                  <a:srgbClr val="135989"/>
                </a:solidFill>
                <a:latin typeface="+mn-lt"/>
                <a:cs typeface="Calibri" panose="020F0502020204030204" pitchFamily="34" charset="0"/>
                <a:sym typeface="Helvetica Neue"/>
              </a:rPr>
              <a:t> </a:t>
            </a:r>
            <a:r>
              <a:rPr lang="pt-BR" sz="31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“A cultura devora a estratégia no café da manhã.”</a:t>
            </a:r>
          </a:p>
          <a:p>
            <a:pPr algn="r" defTabSz="464344" eaLnBrk="0" hangingPunct="0">
              <a:spcBef>
                <a:spcPct val="20000"/>
              </a:spcBef>
            </a:pPr>
            <a:r>
              <a:rPr lang="pt-BR" sz="2475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                                                   </a:t>
            </a:r>
            <a:r>
              <a:rPr lang="pt-BR" sz="20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Peter Drucker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58EBA0DB-42B9-834E-361F-5C7CD6B3668F}"/>
              </a:ext>
            </a:extLst>
          </p:cNvPr>
          <p:cNvSpPr txBox="1"/>
          <p:nvPr/>
        </p:nvSpPr>
        <p:spPr>
          <a:xfrm>
            <a:off x="3401616" y="5863580"/>
            <a:ext cx="4539950" cy="331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64344" fontAlgn="auto" hangingPunct="0">
              <a:lnSpc>
                <a:spcPct val="107000"/>
              </a:lnSpc>
              <a:spcBef>
                <a:spcPts val="0"/>
              </a:spcBef>
              <a:spcAft>
                <a:spcPts val="900"/>
              </a:spcAft>
            </a:pPr>
            <a:r>
              <a:rPr lang="pt-BR" sz="1519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Créditos da imagem: </a:t>
            </a:r>
            <a:r>
              <a:rPr lang="pt-BR" sz="1519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pixabay</a:t>
            </a:r>
            <a:endParaRPr lang="pt-BR" sz="1519" i="1" kern="0" dirty="0">
              <a:solidFill>
                <a:srgbClr val="0000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88AD8B89-9C7F-6CD2-7CB5-5E71D801357A}"/>
              </a:ext>
            </a:extLst>
          </p:cNvPr>
          <p:cNvSpPr txBox="1">
            <a:spLocks/>
          </p:cNvSpPr>
          <p:nvPr/>
        </p:nvSpPr>
        <p:spPr>
          <a:xfrm>
            <a:off x="665312" y="477103"/>
            <a:ext cx="10783491" cy="1285875"/>
          </a:xfr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buSzPct val="100000"/>
              <a:defRPr/>
            </a:pPr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Por que a cultura importa ?</a:t>
            </a:r>
            <a:endParaRPr lang="pt-BR" sz="4000" b="1" dirty="0">
              <a:solidFill>
                <a:srgbClr val="69ADE7"/>
              </a:solidFill>
              <a:latin typeface="Calibri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spaço Reservado para Conteúdo 4">
            <a:extLst>
              <a:ext uri="{FF2B5EF4-FFF2-40B4-BE49-F238E27FC236}">
                <a16:creationId xmlns:a16="http://schemas.microsoft.com/office/drawing/2014/main" id="{A69C0732-E78B-8B18-ECB6-C2DF0D05C82C}"/>
              </a:ext>
            </a:extLst>
          </p:cNvPr>
          <p:cNvSpPr txBox="1">
            <a:spLocks/>
          </p:cNvSpPr>
          <p:nvPr/>
        </p:nvSpPr>
        <p:spPr>
          <a:xfrm>
            <a:off x="687064" y="6439644"/>
            <a:ext cx="12649761" cy="5203825"/>
          </a:xfrm>
          <a:prstGeom prst="rect">
            <a:avLst/>
          </a:prstGeom>
        </p:spPr>
        <p:txBody>
          <a:bodyPr>
            <a:normAutofit/>
          </a:bodyPr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Dá consistência a uma organização e às pessoas;</a:t>
            </a: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Confere ordem e estrutura às atividades numa organização;</a:t>
            </a: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Estabelece um modo de vida interno às pessoas;</a:t>
            </a: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Provê limites e normas básicas de comportamento;</a:t>
            </a: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Estabelece padrões de comunicação;</a:t>
            </a: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Define condições de recompensa e punição.</a:t>
            </a:r>
          </a:p>
          <a:p>
            <a:pPr marL="514303" lvl="1" indent="0">
              <a:buFont typeface="Arial" panose="020B0604020202020204" pitchFamily="34" charset="0"/>
              <a:buNone/>
            </a:pPr>
            <a:endParaRPr lang="pt-BR" sz="2025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BAE42B74-A4A0-A7D1-884B-66872CA62BE3}"/>
              </a:ext>
            </a:extLst>
          </p:cNvPr>
          <p:cNvSpPr/>
          <p:nvPr/>
        </p:nvSpPr>
        <p:spPr>
          <a:xfrm>
            <a:off x="3064834" y="9955986"/>
            <a:ext cx="1034589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Schneider, Willian E. The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reengineering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alternative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: a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plan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for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making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you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culture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pt-BR" sz="1350" i="1" kern="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work</a:t>
            </a:r>
            <a:r>
              <a:rPr lang="pt-BR" sz="1350" i="1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. New York: McGraw Hill, 2017. 216 p.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8F2DAB3F-2884-A33D-2B56-87BB028DC9E4}"/>
              </a:ext>
            </a:extLst>
          </p:cNvPr>
          <p:cNvSpPr txBox="1"/>
          <p:nvPr/>
        </p:nvSpPr>
        <p:spPr>
          <a:xfrm>
            <a:off x="7176818" y="3803007"/>
            <a:ext cx="590177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adianta um gestor querer inovar algo na empresa, se a cultura organizacional é contrária à essa inovação.</a:t>
            </a:r>
          </a:p>
        </p:txBody>
      </p:sp>
    </p:spTree>
    <p:extLst>
      <p:ext uri="{BB962C8B-B14F-4D97-AF65-F5344CB8AC3E}">
        <p14:creationId xmlns:p14="http://schemas.microsoft.com/office/powerpoint/2010/main" val="6156668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  <p:bldP spid="3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7794104" y="8649776"/>
            <a:ext cx="6858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i="1" dirty="0">
                <a:latin typeface="+mn-lt"/>
              </a:rPr>
              <a:t>Fonte: </a:t>
            </a:r>
            <a:r>
              <a:rPr lang="pt-BR" i="1" dirty="0" err="1">
                <a:latin typeface="+mn-lt"/>
              </a:rPr>
              <a:t>McKinsey@Company</a:t>
            </a:r>
            <a:r>
              <a:rPr lang="pt-BR" i="1" dirty="0">
                <a:latin typeface="+mn-lt"/>
              </a:rPr>
              <a:t> , out/2023;</a:t>
            </a:r>
          </a:p>
        </p:txBody>
      </p:sp>
      <p:sp>
        <p:nvSpPr>
          <p:cNvPr id="6" name="Retângulo de cantos arredondados 5"/>
          <p:cNvSpPr/>
          <p:nvPr/>
        </p:nvSpPr>
        <p:spPr>
          <a:xfrm>
            <a:off x="493317" y="914746"/>
            <a:ext cx="12729366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10 macrotendências: alinhamento cultura e estratégia 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B62DB8D-055B-07C2-CE69-707F34EFA1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726" t="16400" r="13775" b="9867"/>
          <a:stretch/>
        </p:blipFill>
        <p:spPr>
          <a:xfrm>
            <a:off x="737320" y="2191172"/>
            <a:ext cx="10950102" cy="6178986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06D1DFE-8765-8E62-89E1-779470548B2A}"/>
              </a:ext>
            </a:extLst>
          </p:cNvPr>
          <p:cNvSpPr txBox="1"/>
          <p:nvPr/>
        </p:nvSpPr>
        <p:spPr>
          <a:xfrm>
            <a:off x="766530" y="9019108"/>
            <a:ext cx="1095010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dirty="0">
                <a:latin typeface="+mn-lt"/>
              </a:rPr>
              <a:t>Cultura Organizacional - além de traçar a estratégia, precisamos cultivar, fazer a manutenção.</a:t>
            </a:r>
          </a:p>
        </p:txBody>
      </p:sp>
    </p:spTree>
    <p:extLst>
      <p:ext uri="{BB962C8B-B14F-4D97-AF65-F5344CB8AC3E}">
        <p14:creationId xmlns:p14="http://schemas.microsoft.com/office/powerpoint/2010/main" val="23825180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 idx="4294967295"/>
          </p:nvPr>
        </p:nvSpPr>
        <p:spPr>
          <a:xfrm>
            <a:off x="1241376" y="1039044"/>
            <a:ext cx="10782300" cy="1285875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algn="l"/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cs typeface="Arial" panose="020B0604020202020204" pitchFamily="34" charset="0"/>
              </a:rPr>
              <a:t>Qual é a melhor cultura organizacional ? </a:t>
            </a:r>
            <a:endParaRPr lang="en-US" sz="4000" b="1" dirty="0">
              <a:solidFill>
                <a:srgbClr val="69ADE7"/>
              </a:solidFill>
              <a:latin typeface="Calibri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1247144" y="2337515"/>
            <a:ext cx="10776532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464344" fontAlgn="auto" hangingPunct="0">
              <a:spcBef>
                <a:spcPts val="0"/>
              </a:spcBef>
              <a:spcAft>
                <a:spcPts val="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sz="3100" kern="0" dirty="0">
              <a:solidFill>
                <a:srgbClr val="000000"/>
              </a:solidFill>
              <a:latin typeface="+mn-lt"/>
              <a:sym typeface="Helvetica Neue"/>
            </a:endParaRPr>
          </a:p>
          <a:p>
            <a:pPr marL="457200" indent="-457200" algn="just" defTabSz="464344" fontAlgn="auto" hangingPunct="0">
              <a:spcBef>
                <a:spcPts val="0"/>
              </a:spcBef>
              <a:spcAft>
                <a:spcPts val="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A cultura que faz a estratégia da organização se concretizar em resultados. </a:t>
            </a:r>
            <a:endParaRPr lang="pt-BR" sz="3100" b="1" kern="0" dirty="0">
              <a:solidFill>
                <a:srgbClr val="0000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  <p:sp>
        <p:nvSpPr>
          <p:cNvPr id="8" name="Espaço Reservado para Conteúdo 2">
            <a:extLst>
              <a:ext uri="{FF2B5EF4-FFF2-40B4-BE49-F238E27FC236}">
                <a16:creationId xmlns:a16="http://schemas.microsoft.com/office/drawing/2014/main" id="{E077B64C-6415-48D9-AE49-181D8B975ECC}"/>
              </a:ext>
            </a:extLst>
          </p:cNvPr>
          <p:cNvSpPr txBox="1">
            <a:spLocks/>
          </p:cNvSpPr>
          <p:nvPr/>
        </p:nvSpPr>
        <p:spPr>
          <a:xfrm>
            <a:off x="1310108" y="4077716"/>
            <a:ext cx="10776532" cy="207389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514350" fontAlgn="auto">
              <a:spcBef>
                <a:spcPts val="563"/>
              </a:spcBef>
              <a:spcAft>
                <a:spcPts val="0"/>
              </a:spcAft>
              <a:buClr>
                <a:srgbClr val="69ADE7"/>
              </a:buClr>
            </a:pPr>
            <a:r>
              <a:rPr lang="pt-BR" sz="31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Nenhuma cultura é melhor do que outra. O que torna uma cultura organizacional mais eficaz ou menos eficaz é a sua consistência interna e a sua coerência com a estratégia organizacional e com o  mercado em que a organização atua.</a:t>
            </a:r>
          </a:p>
          <a:p>
            <a:pPr algn="r" defTabSz="514350" fontAlgn="auto">
              <a:spcBef>
                <a:spcPts val="563"/>
              </a:spcBef>
              <a:spcAft>
                <a:spcPts val="0"/>
              </a:spcAft>
              <a:buClr>
                <a:srgbClr val="69ADE7"/>
              </a:buClr>
            </a:pPr>
            <a:endParaRPr lang="pt-BR" sz="3100" i="1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  <a:p>
            <a:pPr marL="0" indent="0" algn="r" defTabSz="514350" fontAlgn="auto">
              <a:spcBef>
                <a:spcPts val="563"/>
              </a:spcBef>
              <a:spcAft>
                <a:spcPts val="0"/>
              </a:spcAft>
              <a:buClr>
                <a:srgbClr val="69ADE7"/>
              </a:buClr>
              <a:buNone/>
            </a:pPr>
            <a:r>
              <a:rPr lang="pt-BR" sz="2000" i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Fernando </a:t>
            </a:r>
            <a:r>
              <a:rPr lang="pt-BR" sz="2000" i="1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Lanzer</a:t>
            </a:r>
            <a:endParaRPr lang="pt-BR" sz="2000" i="1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86525048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10384143" y="8469219"/>
            <a:ext cx="27896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4344" fontAlgn="auto" hangingPunct="0">
              <a:spcBef>
                <a:spcPts val="0"/>
              </a:spcBef>
              <a:spcAft>
                <a:spcPts val="675"/>
              </a:spcAft>
            </a:pPr>
            <a:r>
              <a:rPr lang="en-US" sz="2000" b="1" i="1" kern="0" dirty="0">
                <a:solidFill>
                  <a:srgbClr val="135989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en-US" sz="20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Betânia</a:t>
            </a:r>
            <a:r>
              <a:rPr lang="en-US" sz="20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en-US" sz="20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Tanure</a:t>
            </a:r>
            <a:endParaRPr lang="en-US" sz="2000" i="1" kern="0" dirty="0">
              <a:solidFill>
                <a:srgbClr val="0000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220497" y="2263180"/>
            <a:ext cx="880153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2171" indent="-482171" algn="just" defTabSz="464344" fontAlgn="auto" hangingPunct="0">
              <a:spcBef>
                <a:spcPts val="0"/>
              </a:spcBef>
              <a:spcAft>
                <a:spcPts val="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Tem dois eixos principais: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3BBF352-E82E-4B77-9779-CCF765769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2082" y="838848"/>
            <a:ext cx="473309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4344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sym typeface="Helvetica Neue Medium"/>
              </a:rPr>
              <a:t>Cultura organizacional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1526647" y="3816299"/>
            <a:ext cx="4094618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3100" kern="0" dirty="0">
                <a:solidFill>
                  <a:srgbClr val="000000"/>
                </a:solidFill>
                <a:ea typeface="Verdana"/>
                <a:sym typeface="Helvetica Neue"/>
              </a:rPr>
              <a:t>Cultura do país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7804" y="5425265"/>
            <a:ext cx="3239129" cy="2161106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A86A8EDC-BF7E-4CDD-A835-DB30D960EF40}"/>
              </a:ext>
            </a:extLst>
          </p:cNvPr>
          <p:cNvSpPr txBox="1"/>
          <p:nvPr/>
        </p:nvSpPr>
        <p:spPr>
          <a:xfrm>
            <a:off x="6858000" y="7582467"/>
            <a:ext cx="4539950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64344" fontAlgn="auto" hangingPunct="0">
              <a:lnSpc>
                <a:spcPct val="107000"/>
              </a:lnSpc>
              <a:spcBef>
                <a:spcPts val="0"/>
              </a:spcBef>
              <a:spcAft>
                <a:spcPts val="900"/>
              </a:spcAft>
            </a:pPr>
            <a:r>
              <a:rPr lang="pt-BR" sz="16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Créditos da imagem: </a:t>
            </a:r>
            <a:r>
              <a:rPr lang="pt-BR" sz="16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pixabay</a:t>
            </a:r>
            <a:endParaRPr lang="pt-BR" sz="1600" i="1" kern="0" dirty="0">
              <a:solidFill>
                <a:srgbClr val="0000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6406375" y="3973030"/>
            <a:ext cx="798111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31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Diferentes povos , diferentes culturas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17209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7" grpId="0"/>
      <p:bldP spid="18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097360" y="3199284"/>
            <a:ext cx="7230648" cy="3412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31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“Todo ser humano é de fato  socializado de determinado meio, não se pode tornar inteligível a dinâmica humana nas organizações sem conhecer a cultura e a sociedade na qual ela se insere” </a:t>
            </a:r>
          </a:p>
          <a:p>
            <a:pPr algn="ct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3038" b="1" kern="0" dirty="0">
                <a:solidFill>
                  <a:srgbClr val="135989"/>
                </a:solidFill>
                <a:latin typeface="Helvetica Neue"/>
                <a:sym typeface="Helvetica Neue"/>
              </a:rPr>
              <a:t>                                                                                           </a:t>
            </a:r>
          </a:p>
          <a:p>
            <a:pPr algn="ct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3038" b="1" kern="0" dirty="0">
                <a:solidFill>
                  <a:srgbClr val="135989"/>
                </a:solidFill>
                <a:latin typeface="Helvetica Neue"/>
                <a:sym typeface="Helvetica Neue"/>
              </a:rPr>
              <a:t>                                                                                                     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4264" y="3282961"/>
            <a:ext cx="1856083" cy="139206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" name="Retângulo 4"/>
          <p:cNvSpPr/>
          <p:nvPr/>
        </p:nvSpPr>
        <p:spPr>
          <a:xfrm>
            <a:off x="9339736" y="4939722"/>
            <a:ext cx="18149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20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Hofstede</a:t>
            </a:r>
            <a:r>
              <a:rPr lang="pt-BR" sz="20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, 1994</a:t>
            </a:r>
            <a:r>
              <a:rPr lang="pt-BR" sz="20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11043" y="1255068"/>
            <a:ext cx="105252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64344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sym typeface="Helvetica Neue"/>
              </a:rPr>
              <a:t>Cultura nacional e os seus desdobramentos </a:t>
            </a:r>
          </a:p>
        </p:txBody>
      </p:sp>
    </p:spTree>
    <p:extLst>
      <p:ext uri="{BB962C8B-B14F-4D97-AF65-F5344CB8AC3E}">
        <p14:creationId xmlns:p14="http://schemas.microsoft.com/office/powerpoint/2010/main" val="327549373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950118" y="4034069"/>
            <a:ext cx="11164465" cy="1311793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marL="482171" indent="-482171" algn="l" defTabSz="464344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O choque cultural afeta a todos nós, o que varia é o grau do choque – menor ou maior - nível de Inteligência Cultural.</a:t>
            </a:r>
            <a:endParaRPr lang="en-US" sz="3100" kern="0" dirty="0">
              <a:solidFill>
                <a:srgbClr val="0000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950119" y="751012"/>
            <a:ext cx="65340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64344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sym typeface="Helvetica Neue"/>
              </a:rPr>
              <a:t>Inteligência cultural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8514184" y="9607996"/>
            <a:ext cx="34339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20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Fonte: Thomas e </a:t>
            </a:r>
            <a:r>
              <a:rPr lang="pt-BR" sz="20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Inkson</a:t>
            </a:r>
            <a:r>
              <a:rPr lang="pt-BR" sz="20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(2006).</a:t>
            </a:r>
          </a:p>
        </p:txBody>
      </p:sp>
      <p:sp>
        <p:nvSpPr>
          <p:cNvPr id="2" name="Retângulo 1"/>
          <p:cNvSpPr/>
          <p:nvPr/>
        </p:nvSpPr>
        <p:spPr>
          <a:xfrm>
            <a:off x="934183" y="2551212"/>
            <a:ext cx="11468433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2171" indent="-482171" defTabSz="464344" fontAlgn="auto" hangingPunct="0">
              <a:spcBef>
                <a:spcPts val="0"/>
              </a:spcBef>
              <a:spcAft>
                <a:spcPts val="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É a capacidade de interagir com pessoas de históricos culturais diferentes de forma eficaz. </a:t>
            </a:r>
          </a:p>
        </p:txBody>
      </p:sp>
    </p:spTree>
    <p:extLst>
      <p:ext uri="{BB962C8B-B14F-4D97-AF65-F5344CB8AC3E}">
        <p14:creationId xmlns:p14="http://schemas.microsoft.com/office/powerpoint/2010/main" val="1758925095"/>
      </p:ext>
    </p:extLst>
  </p:cSld>
  <p:clrMapOvr>
    <a:masterClrMapping/>
  </p:clrMapOvr>
  <p:transition spd="med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2A8AA5BC-4F7A-4226-8F99-6D824B226A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1282135"/>
            <a:ext cx="10287000" cy="7718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ítulo 1"/>
          <p:cNvSpPr txBox="1">
            <a:spLocks/>
          </p:cNvSpPr>
          <p:nvPr/>
        </p:nvSpPr>
        <p:spPr bwMode="auto">
          <a:xfrm>
            <a:off x="8084293" y="541234"/>
            <a:ext cx="9286875" cy="900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2870" tIns="51435" rIns="102870" bIns="51435" numCol="1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40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200" y="1360616"/>
            <a:ext cx="11807317" cy="7902198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193704" y="9642893"/>
            <a:ext cx="9253040" cy="37673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44649" defTabSz="723305">
              <a:spcBef>
                <a:spcPts val="1899"/>
              </a:spcBef>
              <a:defRPr/>
            </a:pPr>
            <a:r>
              <a:rPr lang="pt-BR" altLang="pt-BR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onte:  M. Erin; </a:t>
            </a:r>
            <a:r>
              <a:rPr lang="pt-BR" altLang="pt-BR" i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.Reed</a:t>
            </a:r>
            <a:r>
              <a:rPr lang="pt-BR" altLang="pt-BR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. A Regra é não ter Regras – A </a:t>
            </a:r>
            <a:r>
              <a:rPr lang="pt-BR" altLang="pt-BR" i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etflix</a:t>
            </a:r>
            <a:r>
              <a:rPr lang="pt-BR" altLang="pt-BR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e a Cultura da reinvenção</a:t>
            </a:r>
            <a:endParaRPr lang="pt-BR" altLang="pt-BR" i="1" dirty="0">
              <a:latin typeface="+mn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30896" y="530480"/>
            <a:ext cx="9286875" cy="90011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rin Meyer: </a:t>
            </a:r>
            <a:r>
              <a:rPr lang="en-US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</a:t>
            </a:r>
            <a:r>
              <a:rPr lang="en-US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Nacional e Netflix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D580D13-17F6-9985-B47C-5BD5E285CCD7}"/>
              </a:ext>
            </a:extLst>
          </p:cNvPr>
          <p:cNvSpPr txBox="1"/>
          <p:nvPr/>
        </p:nvSpPr>
        <p:spPr>
          <a:xfrm>
            <a:off x="2299674" y="2407196"/>
            <a:ext cx="28587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effectLst/>
              </a:rPr>
              <a:t>é precisa, simples e clara. </a:t>
            </a:r>
            <a:endParaRPr lang="pt-BR" dirty="0"/>
          </a:p>
        </p:txBody>
      </p:sp>
      <p:pic>
        <p:nvPicPr>
          <p:cNvPr id="1026" name="Picture 2" descr="A regra é não ter regras: A netflix e a cultura da reinvenção">
            <a:extLst>
              <a:ext uri="{FF2B5EF4-FFF2-40B4-BE49-F238E27FC236}">
                <a16:creationId xmlns:a16="http://schemas.microsoft.com/office/drawing/2014/main" id="{6DE00B28-516E-DAE0-235F-270C779BF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6592" y="6871692"/>
            <a:ext cx="1447800" cy="207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148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5E39C6-276E-CC2F-7E00-D4DE03292E7F}"/>
              </a:ext>
            </a:extLst>
          </p:cNvPr>
          <p:cNvSpPr txBox="1">
            <a:spLocks/>
          </p:cNvSpPr>
          <p:nvPr/>
        </p:nvSpPr>
        <p:spPr>
          <a:xfrm>
            <a:off x="653266" y="1687116"/>
            <a:ext cx="8911827" cy="681866"/>
          </a:xfrm>
          <a:prstGeom prst="rect">
            <a:avLst/>
          </a:prstGeom>
        </p:spPr>
        <p:txBody>
          <a:bodyPr vert="horz" lIns="102870" tIns="51435" rIns="102870" bIns="5143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4000" b="1" dirty="0">
                <a:solidFill>
                  <a:srgbClr val="69ADE7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tual contexto</a:t>
            </a:r>
          </a:p>
        </p:txBody>
      </p:sp>
      <p:pic>
        <p:nvPicPr>
          <p:cNvPr id="9" name="Picture 2" descr="content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9" t="15750" r="3401" b="14952"/>
          <a:stretch/>
        </p:blipFill>
        <p:spPr bwMode="auto">
          <a:xfrm>
            <a:off x="794530" y="3257800"/>
            <a:ext cx="9199646" cy="46349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11421610" y="5758768"/>
            <a:ext cx="15898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Jamais </a:t>
            </a:r>
            <a:r>
              <a:rPr lang="pt-BR" sz="1600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scio</a:t>
            </a:r>
            <a:endParaRPr lang="pt-BR" sz="16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" name="Picture 2" descr="Ficheiro:Jamais Cascio 201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1957" y="4950973"/>
            <a:ext cx="969116" cy="83645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109180" y="8216844"/>
            <a:ext cx="4964704" cy="277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sz="14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réditos da imagem: UOL EdlTech</a:t>
            </a:r>
          </a:p>
        </p:txBody>
      </p:sp>
    </p:spTree>
    <p:extLst>
      <p:ext uri="{BB962C8B-B14F-4D97-AF65-F5344CB8AC3E}">
        <p14:creationId xmlns:p14="http://schemas.microsoft.com/office/powerpoint/2010/main" val="21102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881336" y="3057987"/>
            <a:ext cx="5605706" cy="3840604"/>
          </a:xfrm>
          <a:prstGeom prst="rect">
            <a:avLst/>
          </a:prstGeom>
          <a:noFill/>
        </p:spPr>
        <p:txBody>
          <a:bodyPr>
            <a:norm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400" i="1" dirty="0">
                <a:ea typeface="Tahoma" panose="020B0604030504040204" pitchFamily="34" charset="0"/>
                <a:cs typeface="Tahoma" panose="020B0604030504040204" pitchFamily="34" charset="0"/>
              </a:rPr>
              <a:t>“Se você fala com um homem em uma língua que ele entende, isso vai para sua cabeça.  Se você fala na língua dele, isso vai para o seu coração.”</a:t>
            </a:r>
          </a:p>
          <a:p>
            <a:pPr algn="just"/>
            <a:endParaRPr lang="pt-BR" sz="2700" dirty="0">
              <a:cs typeface="Calibri" panose="020F050202020403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/>
          <a:srcRect l="11683" r="15242"/>
          <a:stretch/>
        </p:blipFill>
        <p:spPr>
          <a:xfrm>
            <a:off x="6961145" y="3339610"/>
            <a:ext cx="4759774" cy="3277358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8442176" y="7169591"/>
            <a:ext cx="4280692" cy="1797711"/>
          </a:xfrm>
          <a:prstGeom prst="rect">
            <a:avLst/>
          </a:prstGeom>
          <a:noFill/>
        </p:spPr>
        <p:txBody>
          <a:bodyPr>
            <a:no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2000" i="1" dirty="0">
                <a:ea typeface="Tahoma" panose="020B0604030504040204" pitchFamily="34" charset="0"/>
                <a:cs typeface="Tahoma" panose="020B0604030504040204" pitchFamily="34" charset="0"/>
              </a:rPr>
              <a:t>Nelson Mandela </a:t>
            </a:r>
            <a:endParaRPr lang="pt-BR" sz="20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4866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9618990" y="5424771"/>
            <a:ext cx="27896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4344" fontAlgn="auto" hangingPunct="0">
              <a:spcBef>
                <a:spcPts val="0"/>
              </a:spcBef>
              <a:spcAft>
                <a:spcPts val="675"/>
              </a:spcAft>
            </a:pPr>
            <a:r>
              <a:rPr lang="en-US" sz="2000" b="1" i="1" kern="0" dirty="0">
                <a:solidFill>
                  <a:srgbClr val="135989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en-US" sz="20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Betânia</a:t>
            </a:r>
            <a:r>
              <a:rPr lang="en-US" sz="2000" i="1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 </a:t>
            </a:r>
            <a:r>
              <a:rPr lang="en-US" sz="2000" i="1" kern="0" dirty="0" err="1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Tanure</a:t>
            </a:r>
            <a:endParaRPr lang="en-US" sz="2000" i="1" kern="0" dirty="0">
              <a:solidFill>
                <a:srgbClr val="0000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  <a:sym typeface="Helvetica Neue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008792" y="1831132"/>
            <a:ext cx="880153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2171" indent="-482171" algn="just" defTabSz="464344" fontAlgn="auto" hangingPunct="0">
              <a:spcBef>
                <a:spcPts val="0"/>
              </a:spcBef>
              <a:spcAft>
                <a:spcPts val="0"/>
              </a:spcAft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kern="0" dirty="0">
                <a:solidFill>
                  <a:srgbClr val="0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rPr>
              <a:t>Tem dois eixos principais: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3BBF352-E82E-4B77-9779-CCF765769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2082" y="838848"/>
            <a:ext cx="473309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4344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Calibri"/>
                <a:ea typeface="Verdana" panose="020B0604030504040204" pitchFamily="34" charset="0"/>
                <a:sym typeface="Helvetica Neue Medium"/>
              </a:rPr>
              <a:t>Cultura organizacional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3D83ECAF-3231-C9C5-EA44-3F906A296D28}"/>
              </a:ext>
            </a:extLst>
          </p:cNvPr>
          <p:cNvSpPr/>
          <p:nvPr/>
        </p:nvSpPr>
        <p:spPr>
          <a:xfrm>
            <a:off x="7346489" y="2911252"/>
            <a:ext cx="4564067" cy="882848"/>
          </a:xfrm>
          <a:prstGeom prst="rect">
            <a:avLst/>
          </a:prstGeom>
          <a:solidFill>
            <a:srgbClr val="69ADE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100" dirty="0">
                <a:solidFill>
                  <a:schemeClr val="tx1"/>
                </a:solidFill>
              </a:rPr>
              <a:t>Estruturas do Poder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71AC581-0935-A621-E2A2-D7F996BCEE9E}"/>
              </a:ext>
            </a:extLst>
          </p:cNvPr>
          <p:cNvSpPr txBox="1"/>
          <p:nvPr/>
        </p:nvSpPr>
        <p:spPr>
          <a:xfrm>
            <a:off x="7593461" y="4195601"/>
            <a:ext cx="407012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ases da construção: fundadores e liderança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135C01C-2647-1A22-C24F-6FED1EC9F570}"/>
              </a:ext>
            </a:extLst>
          </p:cNvPr>
          <p:cNvSpPr txBox="1"/>
          <p:nvPr/>
        </p:nvSpPr>
        <p:spPr>
          <a:xfrm>
            <a:off x="1207551" y="9176519"/>
            <a:ext cx="1042317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nfluências do setor , geração, região do Brasil;                                                                                                                                 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23960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65912" y="3293960"/>
            <a:ext cx="671008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É formada pela mentalidade dos empreendedores/fundadores tinham no início sobre o que fazia aquela empresa especial e diferente de todas as outras do mercado. </a:t>
            </a:r>
          </a:p>
        </p:txBody>
      </p:sp>
      <p:sp>
        <p:nvSpPr>
          <p:cNvPr id="9" name="Retângulo 8"/>
          <p:cNvSpPr/>
          <p:nvPr/>
        </p:nvSpPr>
        <p:spPr>
          <a:xfrm>
            <a:off x="10263424" y="6007596"/>
            <a:ext cx="34525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0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dson </a:t>
            </a:r>
            <a:r>
              <a:rPr lang="pt-BR" sz="2000" i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igonatti</a:t>
            </a:r>
            <a:r>
              <a:rPr lang="pt-BR" sz="20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– mentor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435" y="1885101"/>
            <a:ext cx="4580995" cy="6724396"/>
          </a:xfrm>
          <a:prstGeom prst="rect">
            <a:avLst/>
          </a:prstGeom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665312" y="484730"/>
            <a:ext cx="13645033" cy="90011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 Cultura .....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C9811A0-3585-4119-C244-B591A5386895}"/>
              </a:ext>
            </a:extLst>
          </p:cNvPr>
          <p:cNvSpPr/>
          <p:nvPr/>
        </p:nvSpPr>
        <p:spPr>
          <a:xfrm>
            <a:off x="2033464" y="8909701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70575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3448" y="3064765"/>
            <a:ext cx="3699298" cy="397205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" name="Retângulo 4"/>
          <p:cNvSpPr/>
          <p:nvPr/>
        </p:nvSpPr>
        <p:spPr>
          <a:xfrm>
            <a:off x="5901352" y="3313257"/>
            <a:ext cx="5618287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Se a gente sumisse do planeta o que deveria ser o jeito de agir do Beleza Natural ? “                                   </a:t>
            </a:r>
          </a:p>
        </p:txBody>
      </p:sp>
      <p:sp>
        <p:nvSpPr>
          <p:cNvPr id="6" name="Retângulo 5"/>
          <p:cNvSpPr/>
          <p:nvPr/>
        </p:nvSpPr>
        <p:spPr>
          <a:xfrm>
            <a:off x="5933093" y="5314697"/>
            <a:ext cx="558654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cultura é tudo aquilo que permanece em uma empresa quando os donos não estão olhando. </a:t>
            </a:r>
          </a:p>
        </p:txBody>
      </p:sp>
      <p:sp>
        <p:nvSpPr>
          <p:cNvPr id="8" name="Retângulo 7"/>
          <p:cNvSpPr/>
          <p:nvPr/>
        </p:nvSpPr>
        <p:spPr>
          <a:xfrm>
            <a:off x="2249488" y="7514769"/>
            <a:ext cx="4115470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250" i="1" dirty="0">
                <a:latin typeface="+mn-lt"/>
                <a:cs typeface="Segoe UI" panose="020B0502040204020203" pitchFamily="34" charset="0"/>
              </a:rPr>
              <a:t>Leila Velez</a:t>
            </a:r>
          </a:p>
        </p:txBody>
      </p:sp>
    </p:spTree>
    <p:extLst>
      <p:ext uri="{BB962C8B-B14F-4D97-AF65-F5344CB8AC3E}">
        <p14:creationId xmlns:p14="http://schemas.microsoft.com/office/powerpoint/2010/main" val="1681976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2009021" y="4207396"/>
            <a:ext cx="9697957" cy="114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3100" i="1" dirty="0">
                <a:solidFill>
                  <a:srgbClr val="135989"/>
                </a:solidFill>
                <a:latin typeface="+mn-lt"/>
                <a:cs typeface="Calibri" panose="020F0502020204030204" pitchFamily="34" charset="0"/>
              </a:rPr>
              <a:t> </a:t>
            </a:r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Liderança e cultura são dois lados da mesma moeda.” </a:t>
            </a:r>
          </a:p>
          <a:p>
            <a:pPr algn="r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3100" i="1" dirty="0">
                <a:solidFill>
                  <a:srgbClr val="135989"/>
                </a:solidFill>
                <a:latin typeface="+mn-lt"/>
                <a:cs typeface="Calibri" panose="020F0502020204030204" pitchFamily="34" charset="0"/>
              </a:rPr>
              <a:t>                                                                </a:t>
            </a:r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gar </a:t>
            </a:r>
            <a:r>
              <a:rPr lang="pt-BR" sz="2000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chein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6D9CA059-A319-7B80-E948-06125CF5DA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8360" y="5647556"/>
            <a:ext cx="1771477" cy="145004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771258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5201816" y="2983260"/>
            <a:ext cx="6615202" cy="1192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3100" i="1" dirty="0">
                <a:solidFill>
                  <a:srgbClr val="135989"/>
                </a:solidFill>
                <a:latin typeface="+mn-lt"/>
                <a:cs typeface="Calibri" panose="020F0502020204030204" pitchFamily="34" charset="0"/>
              </a:rPr>
              <a:t> </a:t>
            </a:r>
            <a:r>
              <a:rPr lang="pt-BR" sz="3100" i="1" dirty="0">
                <a:latin typeface="+mn-lt"/>
                <a:cs typeface="Calibri" panose="020F0502020204030204" pitchFamily="34" charset="0"/>
              </a:rPr>
              <a:t>“</a:t>
            </a:r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onselho é bom , exemplo arrasta.”  </a:t>
            </a:r>
          </a:p>
          <a:p>
            <a:pPr algn="r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3375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</a:t>
            </a:r>
            <a:r>
              <a:rPr lang="pt-BR" sz="1856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         </a:t>
            </a:r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ony </a:t>
            </a:r>
            <a:r>
              <a:rPr lang="pt-BR" sz="2000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eisler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26" name="Picture 2" descr="Rony Meisler Palestrante DMT Palestra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3384" y="2700727"/>
            <a:ext cx="3214688" cy="321468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1001294" y="6923364"/>
            <a:ext cx="11329313" cy="1258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Suas ações falam tão alto que não consigo ouvir o que você diz” </a:t>
            </a:r>
          </a:p>
          <a:p>
            <a:endParaRPr lang="pt-BR" sz="2475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pt-BR" sz="20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alph Waldo Emerson</a:t>
            </a:r>
          </a:p>
        </p:txBody>
      </p:sp>
    </p:spTree>
    <p:extLst>
      <p:ext uri="{BB962C8B-B14F-4D97-AF65-F5344CB8AC3E}">
        <p14:creationId xmlns:p14="http://schemas.microsoft.com/office/powerpoint/2010/main" val="2646587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5090343" y="3492782"/>
            <a:ext cx="6808217" cy="305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“A cultura de uma organização nada mais é do que o comportamento coletivo de seus líderes. Se você quiser mudar sua cultura, mude o comportamento coletivo de seus líderes.”          </a:t>
            </a:r>
          </a:p>
          <a:p>
            <a:pPr algn="r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3100" i="1" dirty="0">
                <a:solidFill>
                  <a:srgbClr val="135989"/>
                </a:solidFill>
                <a:latin typeface="+mn-lt"/>
                <a:cs typeface="Calibri" panose="020F0502020204030204" pitchFamily="34" charset="0"/>
              </a:rPr>
              <a:t>                                                                                    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098" name="Picture 2" descr="https://fia.com.br/wp-content/uploads/2022/06/RC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817" y="3492782"/>
            <a:ext cx="3067841" cy="266144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6C8DCA24-85F6-2D43-A974-E693863AF43A}"/>
              </a:ext>
            </a:extLst>
          </p:cNvPr>
          <p:cNvSpPr txBox="1"/>
          <p:nvPr/>
        </p:nvSpPr>
        <p:spPr>
          <a:xfrm>
            <a:off x="1799184" y="6327404"/>
            <a:ext cx="6858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i="1" dirty="0">
                <a:solidFill>
                  <a:srgbClr val="135989"/>
                </a:solidFill>
                <a:latin typeface="+mn-lt"/>
                <a:cs typeface="Calibri" panose="020F0502020204030204" pitchFamily="34" charset="0"/>
              </a:rPr>
              <a:t> </a:t>
            </a:r>
            <a:r>
              <a:rPr lang="pt-BR" sz="2400" i="1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am</a:t>
            </a:r>
            <a:r>
              <a:rPr lang="pt-BR" sz="24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Charan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299627637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8852738" y="9813026"/>
            <a:ext cx="6858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i="1" dirty="0">
                <a:latin typeface="+mn-lt"/>
              </a:rPr>
              <a:t>Fonte: </a:t>
            </a:r>
            <a:r>
              <a:rPr lang="pt-BR" i="1" dirty="0" err="1">
                <a:latin typeface="+mn-lt"/>
              </a:rPr>
              <a:t>McKinsey@Company</a:t>
            </a:r>
            <a:r>
              <a:rPr lang="pt-BR" i="1" dirty="0">
                <a:latin typeface="+mn-lt"/>
              </a:rPr>
              <a:t> , out/2023;</a:t>
            </a:r>
          </a:p>
        </p:txBody>
      </p:sp>
      <p:sp>
        <p:nvSpPr>
          <p:cNvPr id="6" name="Retângulo de cantos arredondados 5"/>
          <p:cNvSpPr/>
          <p:nvPr/>
        </p:nvSpPr>
        <p:spPr>
          <a:xfrm>
            <a:off x="493317" y="411537"/>
            <a:ext cx="12729366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Importância do autoconheciment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6E0B682-D65F-07CF-09AF-92D02340CD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01" t="18267" r="12723" b="51259"/>
          <a:stretch/>
        </p:blipFill>
        <p:spPr>
          <a:xfrm>
            <a:off x="519794" y="2011433"/>
            <a:ext cx="12025336" cy="2745597"/>
          </a:xfrm>
          <a:prstGeom prst="rect">
            <a:avLst/>
          </a:prstGeom>
        </p:spPr>
      </p:pic>
      <p:cxnSp>
        <p:nvCxnSpPr>
          <p:cNvPr id="2" name="Conector de Seta Reta 1">
            <a:extLst>
              <a:ext uri="{FF2B5EF4-FFF2-40B4-BE49-F238E27FC236}">
                <a16:creationId xmlns:a16="http://schemas.microsoft.com/office/drawing/2014/main" id="{6C8B95B7-8B3B-102A-7ED1-1A8A09E8A75D}"/>
              </a:ext>
            </a:extLst>
          </p:cNvPr>
          <p:cNvCxnSpPr>
            <a:cxnSpLocks/>
          </p:cNvCxnSpPr>
          <p:nvPr/>
        </p:nvCxnSpPr>
        <p:spPr>
          <a:xfrm>
            <a:off x="2657475" y="4972050"/>
            <a:ext cx="0" cy="1035546"/>
          </a:xfrm>
          <a:prstGeom prst="straightConnector1">
            <a:avLst/>
          </a:prstGeom>
          <a:noFill/>
          <a:ln w="76200" cap="flat">
            <a:solidFill>
              <a:srgbClr val="69ADE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Retângulo: Cantos Superiores Arredondados 4">
            <a:extLst>
              <a:ext uri="{FF2B5EF4-FFF2-40B4-BE49-F238E27FC236}">
                <a16:creationId xmlns:a16="http://schemas.microsoft.com/office/drawing/2014/main" id="{C1A9DCE2-03F6-D7EE-905A-4B04F81BD4F6}"/>
              </a:ext>
            </a:extLst>
          </p:cNvPr>
          <p:cNvSpPr/>
          <p:nvPr/>
        </p:nvSpPr>
        <p:spPr>
          <a:xfrm>
            <a:off x="493018" y="6084614"/>
            <a:ext cx="4464496" cy="2660333"/>
          </a:xfrm>
          <a:prstGeom prst="round2SameRect">
            <a:avLst>
              <a:gd name="adj1" fmla="val 10397"/>
              <a:gd name="adj2" fmla="val 0"/>
            </a:avLst>
          </a:prstGeom>
          <a:noFill/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just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2400" dirty="0">
                <a:latin typeface="+mn-lt"/>
                <a:cs typeface="+mn-cs"/>
                <a:sym typeface="Helvetica Neue Medium"/>
              </a:rPr>
              <a:t>“É preciso </a:t>
            </a:r>
            <a:r>
              <a:rPr lang="pt-BR" sz="2400" i="1" dirty="0">
                <a:latin typeface="+mn-lt"/>
                <a:cs typeface="+mn-cs"/>
                <a:sym typeface="Helvetica Neue Medium"/>
              </a:rPr>
              <a:t>desenvolver autoconsciência,</a:t>
            </a:r>
            <a:r>
              <a:rPr lang="pt-BR" sz="2400" dirty="0">
                <a:latin typeface="+mn-lt"/>
                <a:cs typeface="+mn-cs"/>
                <a:sym typeface="Helvetica Neue Medium"/>
              </a:rPr>
              <a:t> identificar estratégicas para superar limitações e, assim, estar mais bem preparado para inspirar outros a atingir seu plano potencial das organizações.”</a:t>
            </a:r>
            <a:endParaRPr lang="pt-BR" sz="2800" dirty="0">
              <a:latin typeface="+mn-lt"/>
              <a:cs typeface="+mn-cs"/>
              <a:sym typeface="Helvetica Neue Medium"/>
            </a:endParaRPr>
          </a:p>
        </p:txBody>
      </p:sp>
      <p:sp>
        <p:nvSpPr>
          <p:cNvPr id="8" name="Retângulo: Cantos Superiores Arredondados 7">
            <a:extLst>
              <a:ext uri="{FF2B5EF4-FFF2-40B4-BE49-F238E27FC236}">
                <a16:creationId xmlns:a16="http://schemas.microsoft.com/office/drawing/2014/main" id="{D9A7B94C-FA40-62DE-20DA-A8797B09A292}"/>
              </a:ext>
            </a:extLst>
          </p:cNvPr>
          <p:cNvSpPr/>
          <p:nvPr/>
        </p:nvSpPr>
        <p:spPr>
          <a:xfrm>
            <a:off x="5266114" y="6084614"/>
            <a:ext cx="3586624" cy="3097530"/>
          </a:xfrm>
          <a:prstGeom prst="round2SameRect">
            <a:avLst/>
          </a:prstGeom>
          <a:noFill/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2400" dirty="0">
                <a:latin typeface="+mn-lt"/>
                <a:cs typeface="+mn-cs"/>
                <a:sym typeface="Helvetica Neue Medium"/>
              </a:rPr>
              <a:t>“É preciso quebrar barreiras organizacionais rígidas, enfatizar equipes versus indivíduos e criar condições psicologicamente seguras para que todos contribuam ao máximo.”</a:t>
            </a:r>
          </a:p>
        </p:txBody>
      </p:sp>
      <p:sp>
        <p:nvSpPr>
          <p:cNvPr id="9" name="Retângulo: Cantos Superiores Arredondados 8">
            <a:extLst>
              <a:ext uri="{FF2B5EF4-FFF2-40B4-BE49-F238E27FC236}">
                <a16:creationId xmlns:a16="http://schemas.microsoft.com/office/drawing/2014/main" id="{B076AA2A-4107-E509-E195-6F95B74F1600}"/>
              </a:ext>
            </a:extLst>
          </p:cNvPr>
          <p:cNvSpPr/>
          <p:nvPr/>
        </p:nvSpPr>
        <p:spPr>
          <a:xfrm>
            <a:off x="9145015" y="6091554"/>
            <a:ext cx="3398181" cy="3484721"/>
          </a:xfrm>
          <a:prstGeom prst="round2SameRect">
            <a:avLst/>
          </a:prstGeom>
          <a:noFill/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just" defTabSz="464344" fontAlgn="auto" hangingPunct="0">
              <a:spcBef>
                <a:spcPts val="0"/>
              </a:spcBef>
              <a:spcAft>
                <a:spcPts val="0"/>
              </a:spcAft>
            </a:pPr>
            <a:r>
              <a:rPr lang="pt-BR" sz="2400" dirty="0">
                <a:latin typeface="+mn-lt"/>
                <a:cs typeface="+mn-cs"/>
                <a:sym typeface="Helvetica Neue Medium"/>
              </a:rPr>
              <a:t>“É preciso adotar uma visão de impacto e valor para todos os envolvidos, não apenas focando em lucros previsíveis  empresas com propósito têm funcionários 4x mais engajados.”</a:t>
            </a:r>
          </a:p>
        </p:txBody>
      </p: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EEE86F25-4B41-9CFA-B278-8735C71E294D}"/>
              </a:ext>
            </a:extLst>
          </p:cNvPr>
          <p:cNvCxnSpPr>
            <a:cxnSpLocks/>
          </p:cNvCxnSpPr>
          <p:nvPr/>
        </p:nvCxnSpPr>
        <p:spPr>
          <a:xfrm>
            <a:off x="6858000" y="4927476"/>
            <a:ext cx="0" cy="1035546"/>
          </a:xfrm>
          <a:prstGeom prst="straightConnector1">
            <a:avLst/>
          </a:prstGeom>
          <a:noFill/>
          <a:ln w="76200" cap="flat">
            <a:solidFill>
              <a:srgbClr val="69ADE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48F1DE16-974A-9984-EAF8-71FEFEF4714B}"/>
              </a:ext>
            </a:extLst>
          </p:cNvPr>
          <p:cNvCxnSpPr>
            <a:cxnSpLocks/>
          </p:cNvCxnSpPr>
          <p:nvPr/>
        </p:nvCxnSpPr>
        <p:spPr>
          <a:xfrm>
            <a:off x="10798813" y="4927476"/>
            <a:ext cx="0" cy="1035546"/>
          </a:xfrm>
          <a:prstGeom prst="straightConnector1">
            <a:avLst/>
          </a:prstGeom>
          <a:noFill/>
          <a:ln w="76200" cap="flat">
            <a:solidFill>
              <a:srgbClr val="69ADE7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69812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etângulo 2"/>
          <p:cNvSpPr>
            <a:spLocks noChangeArrowheads="1"/>
          </p:cNvSpPr>
          <p:nvPr/>
        </p:nvSpPr>
        <p:spPr bwMode="auto">
          <a:xfrm>
            <a:off x="377280" y="363096"/>
            <a:ext cx="6809781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771506" eaLnBrk="0"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Visionário/Confiável </a:t>
            </a:r>
            <a:r>
              <a:rPr lang="pt-BR" altLang="pt-BR" sz="13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vermelho)</a:t>
            </a:r>
          </a:p>
          <a:p>
            <a:pPr defTabSz="771506" eaLnBrk="0">
              <a:defRPr/>
            </a:pPr>
            <a:r>
              <a:rPr lang="pt-BR" altLang="pt-BR" sz="32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Venha Comigo”</a:t>
            </a:r>
          </a:p>
        </p:txBody>
      </p:sp>
      <p:sp>
        <p:nvSpPr>
          <p:cNvPr id="37892" name="Retângulo 1"/>
          <p:cNvSpPr>
            <a:spLocks noChangeArrowheads="1"/>
          </p:cNvSpPr>
          <p:nvPr/>
        </p:nvSpPr>
        <p:spPr bwMode="auto">
          <a:xfrm>
            <a:off x="7683819" y="4106500"/>
            <a:ext cx="3610098" cy="32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342900" indent="-342900" defTabSz="385763" eaLnBrk="0">
              <a:lnSpc>
                <a:spcPts val="2475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pt-BR" altLang="pt-BR" sz="210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7893" name="Picture 2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9" t="7915" r="51982" b="49873"/>
          <a:stretch/>
        </p:blipFill>
        <p:spPr bwMode="auto">
          <a:xfrm>
            <a:off x="11700607" y="8525045"/>
            <a:ext cx="1234440" cy="1594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9"/>
          <p:cNvSpPr txBox="1">
            <a:spLocks noChangeArrowheads="1"/>
          </p:cNvSpPr>
          <p:nvPr/>
        </p:nvSpPr>
        <p:spPr bwMode="auto">
          <a:xfrm>
            <a:off x="288189" y="2047902"/>
            <a:ext cx="7330796" cy="796153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acterísticas</a:t>
            </a:r>
            <a:r>
              <a:rPr lang="pt-BR" altLang="zh-CN" sz="36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ntusiasmado, vibrante e visão clara; 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ove as pessoas em direção a sonhos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otiva as pessoas ao deixar claro como o trabalho delas se enquadra numa visão maior da organização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essoas que trabalham para tais líderes entendem que o que fazem importa e por quê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o fornecer feedback – quer positivo ou negativo – é se aquele desempenho ajuda ou não no progresso da visão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s padrões para o sucesso são claros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stabelecem o fim do que se espera, mas fornecem liberdade para os colaboradores construam os meios de alcançarem as metas; </a:t>
            </a:r>
          </a:p>
        </p:txBody>
      </p:sp>
      <p:sp>
        <p:nvSpPr>
          <p:cNvPr id="6" name="TextBox 19"/>
          <p:cNvSpPr txBox="1">
            <a:spLocks noChangeArrowheads="1"/>
          </p:cNvSpPr>
          <p:nvPr/>
        </p:nvSpPr>
        <p:spPr bwMode="auto">
          <a:xfrm>
            <a:off x="8280560" y="2112087"/>
            <a:ext cx="4596066" cy="51546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342900" indent="-342900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endParaRPr lang="pt-BR" altLang="zh-CN" sz="21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é adequado</a:t>
            </a:r>
          </a:p>
          <a:p>
            <a:pPr marL="342900" indent="-342900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Quando o líder não é percebido como digno de confiança;</a:t>
            </a:r>
          </a:p>
          <a:p>
            <a:pPr marL="342900" indent="-342900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r vezes para colaboradores mais experientes podem achá-lo pretensioso ou fora de sintonia;</a:t>
            </a:r>
          </a:p>
        </p:txBody>
      </p:sp>
    </p:spTree>
    <p:extLst>
      <p:ext uri="{BB962C8B-B14F-4D97-AF65-F5344CB8AC3E}">
        <p14:creationId xmlns:p14="http://schemas.microsoft.com/office/powerpoint/2010/main" val="95112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tângulo 2"/>
          <p:cNvSpPr>
            <a:spLocks noChangeArrowheads="1"/>
          </p:cNvSpPr>
          <p:nvPr/>
        </p:nvSpPr>
        <p:spPr bwMode="auto">
          <a:xfrm>
            <a:off x="425669" y="300563"/>
            <a:ext cx="8824319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771506" eaLnBrk="0"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aching /Conselheiro </a:t>
            </a:r>
            <a:r>
              <a:rPr lang="pt-BR" altLang="pt-BR" sz="157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verde) </a:t>
            </a:r>
          </a:p>
          <a:p>
            <a:pPr defTabSz="771506" eaLnBrk="0">
              <a:defRPr/>
            </a:pPr>
            <a:r>
              <a:rPr lang="pt-BR" altLang="pt-BR" sz="32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Experimente isso”</a:t>
            </a:r>
          </a:p>
        </p:txBody>
      </p:sp>
      <p:pic>
        <p:nvPicPr>
          <p:cNvPr id="39942" name="Picture 2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03" t="3330" r="24868" b="49022"/>
          <a:stretch/>
        </p:blipFill>
        <p:spPr bwMode="auto">
          <a:xfrm>
            <a:off x="11572124" y="8501729"/>
            <a:ext cx="1337310" cy="150876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9">
            <a:extLst>
              <a:ext uri="{FF2B5EF4-FFF2-40B4-BE49-F238E27FC236}">
                <a16:creationId xmlns:a16="http://schemas.microsoft.com/office/drawing/2014/main" id="{18A5B855-8E32-09F8-627E-D141E4D863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669" y="1899999"/>
            <a:ext cx="7319142" cy="81104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acterísticas 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judam os colaboradores a conhecerem suas forças e fraquezas;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Vinculam as aspirações pessoais de carreira com a organização. 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ncorajam os funcionários a criarem metas de desenvolvimento de longo prazo e os ajudam a conceber um PDI;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ão</a:t>
            </a:r>
            <a:r>
              <a:rPr lang="pt-BR" altLang="zh-CN" sz="2700" i="1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feedbacks </a:t>
            </a: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onstantes;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Tendência de delegar tarefas desafiadoras mesmo que não sejam entregues de forma rápida. Estão dispostos a suportar o fracasso a curto prazo se isso estimula o aprendizado a longo prazo;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juda no comprometimento porque a mensagem que ele passa é : “acredito em você.”</a:t>
            </a: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E470FC77-5AA0-914E-977A-3A7CAA1A0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4144" y="2030979"/>
            <a:ext cx="4759946" cy="462030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é adequado 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Quando os colaboradores não querem ser desenvolvidos , resistentes ao aprendizado ou que não tem consciência do que precisam melhorar; </a:t>
            </a:r>
          </a:p>
          <a:p>
            <a:pPr marL="321470" indent="-32147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m situações críticas nas quais decisões objetivas devem ser tomadas rapidamente;</a:t>
            </a:r>
          </a:p>
        </p:txBody>
      </p:sp>
    </p:spTree>
    <p:extLst>
      <p:ext uri="{BB962C8B-B14F-4D97-AF65-F5344CB8AC3E}">
        <p14:creationId xmlns:p14="http://schemas.microsoft.com/office/powerpoint/2010/main" val="7417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ontent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2" t="15750" r="68335" b="14952"/>
          <a:stretch/>
        </p:blipFill>
        <p:spPr bwMode="auto">
          <a:xfrm>
            <a:off x="953344" y="3055268"/>
            <a:ext cx="2187180" cy="47636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tângulo de cantos arredondados 13"/>
          <p:cNvSpPr/>
          <p:nvPr/>
        </p:nvSpPr>
        <p:spPr>
          <a:xfrm>
            <a:off x="3833664" y="3199284"/>
            <a:ext cx="6790908" cy="255484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udo pode mudar (planos A, B e C)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er um propósito claro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mo quer ser reconhecido no futuro.</a:t>
            </a:r>
          </a:p>
          <a:p>
            <a:pPr marL="321469" indent="-321469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25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pt-BR" sz="225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tângulo de cantos arredondados 6"/>
          <p:cNvSpPr/>
          <p:nvPr/>
        </p:nvSpPr>
        <p:spPr>
          <a:xfrm>
            <a:off x="650426" y="1084318"/>
            <a:ext cx="354345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100" b="1" dirty="0">
                <a:solidFill>
                  <a:srgbClr val="69ADE7"/>
                </a:solidFill>
              </a:rPr>
              <a:t>Atual contexto</a:t>
            </a:r>
          </a:p>
        </p:txBody>
      </p:sp>
    </p:spTree>
    <p:extLst>
      <p:ext uri="{BB962C8B-B14F-4D97-AF65-F5344CB8AC3E}">
        <p14:creationId xmlns:p14="http://schemas.microsoft.com/office/powerpoint/2010/main" val="286606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9" name="Retângulo 2"/>
          <p:cNvSpPr>
            <a:spLocks noChangeArrowheads="1"/>
          </p:cNvSpPr>
          <p:nvPr/>
        </p:nvSpPr>
        <p:spPr bwMode="auto">
          <a:xfrm>
            <a:off x="449288" y="208484"/>
            <a:ext cx="8824319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771506" eaLnBrk="0">
              <a:defRPr/>
            </a:pPr>
            <a:r>
              <a:rPr lang="pt-BR" altLang="pt-BR" sz="4000" b="1" dirty="0" err="1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filiativo</a:t>
            </a:r>
            <a:r>
              <a:rPr lang="pt-BR" altLang="pt-BR" sz="27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altLang="pt-BR" sz="157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azul)</a:t>
            </a:r>
          </a:p>
          <a:p>
            <a:pPr defTabSz="771506" eaLnBrk="0">
              <a:defRPr/>
            </a:pPr>
            <a:r>
              <a:rPr lang="pt-BR" altLang="pt-BR" sz="3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altLang="pt-BR" sz="32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s pessoas em 1º lugar”</a:t>
            </a:r>
            <a:r>
              <a:rPr lang="pt-BR" altLang="pt-BR" sz="32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41990" name="Picture 3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25" t="7204" r="32444" b="50574"/>
          <a:stretch/>
        </p:blipFill>
        <p:spPr bwMode="auto">
          <a:xfrm>
            <a:off x="10458400" y="8311852"/>
            <a:ext cx="1783080" cy="162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9">
            <a:extLst>
              <a:ext uri="{FF2B5EF4-FFF2-40B4-BE49-F238E27FC236}">
                <a16:creationId xmlns:a16="http://schemas.microsoft.com/office/drawing/2014/main" id="{4BD909FF-AF9C-F536-A321-0FB4C8624E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272" y="1831132"/>
            <a:ext cx="7043409" cy="838627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acterísticas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sforça-se para manter os colaboradores contentes e criar harmonia entre eles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Gerencia desenvolvendo fortes vínculos emocionais e depois colhe o benefício de tal abordagem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essoas que gostam umas das outras conversam muito, e compartilham ideias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le dá às pessoas liberdade para realizarem seu serviço de forma que consideram mais eficaz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ferece amplo</a:t>
            </a:r>
            <a:r>
              <a:rPr lang="pt-BR" altLang="zh-CN" sz="2800" i="1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feedback </a:t>
            </a: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sitivo tornando as palavras positivas e motivadoras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ão líderes que estimulam a encontros fora do horário de trabalho e de situações de celebrações;</a:t>
            </a: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31978DA8-13BE-EB0B-F881-807B220836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8427" y="1831132"/>
            <a:ext cx="4759946" cy="574554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adequado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de impedir que o mau desempenho seja corrigido, em função de pautar o </a:t>
            </a:r>
            <a:r>
              <a:rPr lang="pt-BR" altLang="zh-CN" sz="2800" i="1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eedback</a:t>
            </a: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em elogios;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odem perceber que a mediocridade é tolerada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Quando precisam de diretrizes claras para navegar por mudanças complexas</a:t>
            </a:r>
          </a:p>
        </p:txBody>
      </p:sp>
    </p:spTree>
    <p:extLst>
      <p:ext uri="{BB962C8B-B14F-4D97-AF65-F5344CB8AC3E}">
        <p14:creationId xmlns:p14="http://schemas.microsoft.com/office/powerpoint/2010/main" val="266671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7" name="Picture 2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25" t="3095" r="45818" b="50232"/>
          <a:stretch/>
        </p:blipFill>
        <p:spPr bwMode="auto">
          <a:xfrm>
            <a:off x="11754544" y="8302506"/>
            <a:ext cx="957375" cy="177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9" name="Retângulo 2"/>
          <p:cNvSpPr>
            <a:spLocks noChangeArrowheads="1"/>
          </p:cNvSpPr>
          <p:nvPr/>
        </p:nvSpPr>
        <p:spPr bwMode="auto">
          <a:xfrm>
            <a:off x="449288" y="205409"/>
            <a:ext cx="8822532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771506" eaLnBrk="0">
              <a:defRPr/>
            </a:pPr>
            <a:r>
              <a:rPr lang="pt-BR" altLang="pt-BR" sz="4000" b="1" dirty="0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Helvetica Neue Medium"/>
              </a:rPr>
              <a:t>Democrático</a:t>
            </a:r>
            <a:r>
              <a:rPr lang="pt-BR" altLang="pt-BR" sz="36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Helvetica Neue Medium"/>
              </a:rPr>
              <a:t> </a:t>
            </a:r>
            <a:r>
              <a:rPr lang="pt-BR" altLang="pt-BR" sz="157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 Medium"/>
              </a:rPr>
              <a:t>(bordô ou marrom) </a:t>
            </a:r>
          </a:p>
          <a:p>
            <a:pPr defTabSz="771506" eaLnBrk="0">
              <a:defRPr/>
            </a:pPr>
            <a:r>
              <a:rPr lang="pt-BR" altLang="pt-BR" sz="3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 Medium"/>
              </a:rPr>
              <a:t>“O que você acha?”</a:t>
            </a:r>
          </a:p>
        </p:txBody>
      </p:sp>
      <p:sp>
        <p:nvSpPr>
          <p:cNvPr id="2" name="TextBox 19">
            <a:extLst>
              <a:ext uri="{FF2B5EF4-FFF2-40B4-BE49-F238E27FC236}">
                <a16:creationId xmlns:a16="http://schemas.microsoft.com/office/drawing/2014/main" id="{E72A4E08-791C-63E9-CB0A-FA5DB07055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308" y="1821307"/>
            <a:ext cx="7137948" cy="838627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acterísticas 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dica o tempo para ouvir as ideias e obter adesão das pessoas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ão ótimos comunicadores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ermite que os colaboradores tenham influência nas decisões que afetam suas metas e como realizam o trabalho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senvolve confiança , respeito e compromisso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uve as preocupações dos funcionários e sabe o que fazer para manter o moral elevado; 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Quando o líder está inseguro quanto à melhor  decisão e precisa de ideias e orientação da equipe para a escolha do caminho;</a:t>
            </a: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969A09B2-C23B-58AE-CF71-47BADF606C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4144" y="1984494"/>
            <a:ext cx="4759946" cy="63180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adequado 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m tempos de cries;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omo investe tempo em ouvir todos e buscar chegar ao consenso, as reuniões que conduz são intermináveis e por muitas vezes são remarcadas para continuar as discussões; </a:t>
            </a:r>
          </a:p>
          <a:p>
            <a:pPr marL="342900" indent="-3429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Quando a equipe não é competente para oferecer ideias e decisões sensatas; </a:t>
            </a:r>
          </a:p>
        </p:txBody>
      </p:sp>
    </p:spTree>
    <p:extLst>
      <p:ext uri="{BB962C8B-B14F-4D97-AF65-F5344CB8AC3E}">
        <p14:creationId xmlns:p14="http://schemas.microsoft.com/office/powerpoint/2010/main" val="17448122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32" descr="http://www.indianetzone.com/photos_gallery/18/ratan_tata_1765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639" y="8618337"/>
            <a:ext cx="1648811" cy="1294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2"/>
          <p:cNvSpPr txBox="1">
            <a:spLocks noChangeArrowheads="1"/>
          </p:cNvSpPr>
          <p:nvPr/>
        </p:nvSpPr>
        <p:spPr>
          <a:xfrm>
            <a:off x="377280" y="246956"/>
            <a:ext cx="7408070" cy="1294805"/>
          </a:xfrm>
          <a:prstGeom prst="rect">
            <a:avLst/>
          </a:prstGeom>
        </p:spPr>
        <p:txBody>
          <a:bodyPr vert="horz" lIns="102870" tIns="51435" rIns="102870" bIns="51435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771506" eaLnBrk="0" hangingPunct="0">
              <a:spcBef>
                <a:spcPts val="0"/>
              </a:spcBef>
            </a:pPr>
            <a:r>
              <a:rPr lang="pt-BR" altLang="zh-CN" sz="4000" b="1" dirty="0">
                <a:solidFill>
                  <a:srgbClr val="69ADE7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stabelecimento do Ritmo </a:t>
            </a:r>
            <a:r>
              <a:rPr lang="pt-BR" altLang="zh-CN" sz="15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amarelo)</a:t>
            </a:r>
          </a:p>
          <a:p>
            <a:pPr algn="l" defTabSz="385763" eaLnBrk="0" hangingPunct="0">
              <a:lnSpc>
                <a:spcPts val="2475"/>
              </a:lnSpc>
            </a:pPr>
            <a:r>
              <a:rPr lang="pt-BR" altLang="zh-CN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Faça o que eu faço agora”</a:t>
            </a:r>
          </a:p>
        </p:txBody>
      </p:sp>
      <p:sp>
        <p:nvSpPr>
          <p:cNvPr id="2" name="TextBox 19">
            <a:extLst>
              <a:ext uri="{FF2B5EF4-FFF2-40B4-BE49-F238E27FC236}">
                <a16:creationId xmlns:a16="http://schemas.microsoft.com/office/drawing/2014/main" id="{BD3D5376-EEE3-0CAD-CB1E-646ED1307E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7280" y="1912306"/>
            <a:ext cx="7071752" cy="812773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acterísticas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ixa padrões de desempenho extremamente altos e os exemplifica pessoalmente;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obcecado em fazer as coisas melhor e mais rápido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xcelente na condução de uma equipe de alta performance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ponta o mau desempenho e exige mais do funcionário. Caso não correspondem , são substituídos por profissionais que entregam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s diretrizes estão claras na cabeça do líder, espera que as pessoas saibam o que fazer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ssume o controle ou tarefa quando o resultado da entrega não está alinhada as suas expectativas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endParaRPr lang="pt-BR" altLang="zh-CN" sz="28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BAAC7BD7-3854-E484-BEE3-26606A5434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82136" y="2104007"/>
            <a:ext cx="4759946" cy="47114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adequado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Quando a equipe necessita de desenvolvimento, não dá feedback, prefere transferir a tarefa ou executá-la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7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m organizações que crescem (exigindo maior delegação)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endParaRPr lang="pt-BR" altLang="zh-CN" sz="28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0780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tângulo 2"/>
          <p:cNvSpPr>
            <a:spLocks noChangeArrowheads="1"/>
          </p:cNvSpPr>
          <p:nvPr/>
        </p:nvSpPr>
        <p:spPr bwMode="auto">
          <a:xfrm>
            <a:off x="881336" y="493504"/>
            <a:ext cx="8824319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771506" eaLnBrk="0"/>
            <a:r>
              <a:rPr lang="pt-BR" altLang="pt-BR" sz="4000" b="1" dirty="0">
                <a:solidFill>
                  <a:srgbClr val="69ADE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mando</a:t>
            </a:r>
            <a:r>
              <a:rPr lang="pt-BR" altLang="pt-BR" sz="27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altLang="pt-BR" sz="15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rosa)</a:t>
            </a:r>
          </a:p>
          <a:p>
            <a:pPr defTabSz="771506" eaLnBrk="0"/>
            <a:r>
              <a:rPr lang="pt-BR" alt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“Faça o que digo” </a:t>
            </a:r>
          </a:p>
        </p:txBody>
      </p:sp>
      <p:pic>
        <p:nvPicPr>
          <p:cNvPr id="5" name="Picture 2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73" t="6712" r="31316" b="37877"/>
          <a:stretch/>
        </p:blipFill>
        <p:spPr bwMode="auto">
          <a:xfrm>
            <a:off x="10593413" y="8311852"/>
            <a:ext cx="1285875" cy="1423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9">
            <a:extLst>
              <a:ext uri="{FF2B5EF4-FFF2-40B4-BE49-F238E27FC236}">
                <a16:creationId xmlns:a16="http://schemas.microsoft.com/office/drawing/2014/main" id="{722FC738-7597-70B7-3B06-2092508409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16" y="2954039"/>
            <a:ext cx="4759946" cy="47668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aracterísticas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livia medos dando uma direção clara em uma emergência, ideal para situações de crise que necessitam de respostas rápidas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spera obediência imediata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endParaRPr lang="pt-BR" altLang="zh-CN" sz="28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6E27C239-708C-700E-8C5A-E3F261BE22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1118" y="2950635"/>
            <a:ext cx="4759946" cy="424975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385763" eaLnBrk="1" hangingPunct="1">
              <a:lnSpc>
                <a:spcPct val="120000"/>
              </a:lnSpc>
              <a:buClr>
                <a:srgbClr val="69ADE7"/>
              </a:buClr>
              <a:defRPr/>
            </a:pPr>
            <a:r>
              <a:rPr lang="pt-BR" altLang="zh-CN" sz="31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ão adequado 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mpede a autonomia e a flexibilidade dos colaboradores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om o tempo o senso de responsabilidade se evapora;</a:t>
            </a:r>
          </a:p>
          <a:p>
            <a:pPr marL="457200" indent="-457200" algn="just" defTabSz="385763" eaLnBrk="1" hangingPunct="1">
              <a:lnSpc>
                <a:spcPct val="120000"/>
              </a:lnSpc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comum pautar o</a:t>
            </a:r>
            <a:r>
              <a:rPr lang="pt-BR" altLang="zh-CN" sz="2800" i="1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feedback </a:t>
            </a:r>
            <a:r>
              <a:rPr lang="pt-BR" altLang="zh-CN" sz="2800" dirty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o corretivo;</a:t>
            </a:r>
          </a:p>
        </p:txBody>
      </p:sp>
    </p:spTree>
    <p:extLst>
      <p:ext uri="{BB962C8B-B14F-4D97-AF65-F5344CB8AC3E}">
        <p14:creationId xmlns:p14="http://schemas.microsoft.com/office/powerpoint/2010/main" val="2433611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1"/>
          <p:cNvSpPr txBox="1">
            <a:spLocks/>
          </p:cNvSpPr>
          <p:nvPr/>
        </p:nvSpPr>
        <p:spPr>
          <a:xfrm>
            <a:off x="2969568" y="3487316"/>
            <a:ext cx="8064896" cy="486053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100" dirty="0">
                <a:ea typeface="Verdana" panose="020B0604030504040204" pitchFamily="34" charset="0"/>
                <a:cs typeface="Verdana" panose="020B0604030504040204" pitchFamily="34" charset="0"/>
              </a:rPr>
              <a:t>Quais os impactos dos estilos de liderança na cultura ?</a:t>
            </a:r>
          </a:p>
        </p:txBody>
      </p:sp>
    </p:spTree>
    <p:extLst>
      <p:ext uri="{BB962C8B-B14F-4D97-AF65-F5344CB8AC3E}">
        <p14:creationId xmlns:p14="http://schemas.microsoft.com/office/powerpoint/2010/main" val="3437616526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09" y="3734470"/>
            <a:ext cx="6377582" cy="6377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tângulo 1"/>
          <p:cNvSpPr/>
          <p:nvPr/>
        </p:nvSpPr>
        <p:spPr bwMode="auto">
          <a:xfrm>
            <a:off x="7029512" y="4308152"/>
            <a:ext cx="5989923" cy="414771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870" tIns="51435" rIns="102870" bIns="51435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25">
              <a:solidFill>
                <a:schemeClr val="bg1"/>
              </a:solidFill>
              <a:latin typeface="Helvetica" charset="0"/>
            </a:endParaRPr>
          </a:p>
        </p:txBody>
      </p:sp>
      <p:cxnSp>
        <p:nvCxnSpPr>
          <p:cNvPr id="6" name="Conector reto 5"/>
          <p:cNvCxnSpPr/>
          <p:nvPr/>
        </p:nvCxnSpPr>
        <p:spPr bwMode="auto">
          <a:xfrm>
            <a:off x="4698278" y="4308152"/>
            <a:ext cx="233123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aixaDeTexto 7"/>
          <p:cNvSpPr txBox="1"/>
          <p:nvPr/>
        </p:nvSpPr>
        <p:spPr>
          <a:xfrm>
            <a:off x="7029512" y="4750978"/>
            <a:ext cx="5882767" cy="330346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27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erbal e não verbal</a:t>
            </a:r>
          </a:p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27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estuário, </a:t>
            </a:r>
            <a:r>
              <a:rPr lang="pt-BR" sz="2700" i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layout</a:t>
            </a:r>
            <a:r>
              <a:rPr lang="pt-BR" sz="27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da empresa</a:t>
            </a:r>
          </a:p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27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Imagens e objetos que têm significado para a empresa</a:t>
            </a:r>
          </a:p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27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ierarquia</a:t>
            </a:r>
          </a:p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27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ofissões mais valorizadas</a:t>
            </a:r>
          </a:p>
        </p:txBody>
      </p:sp>
      <p:sp>
        <p:nvSpPr>
          <p:cNvPr id="7" name="Título 1"/>
          <p:cNvSpPr txBox="1">
            <a:spLocks/>
          </p:cNvSpPr>
          <p:nvPr/>
        </p:nvSpPr>
        <p:spPr bwMode="auto">
          <a:xfrm>
            <a:off x="593304" y="2192748"/>
            <a:ext cx="9286875" cy="9001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102870" tIns="51435" rIns="102870" bIns="51435" numCol="1" rtlCol="0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pt-BR" sz="3000" dirty="0" err="1">
                <a:latin typeface="+mn-lt"/>
              </a:rPr>
              <a:t>Principais</a:t>
            </a:r>
            <a:r>
              <a:rPr lang="en-US" altLang="pt-BR" sz="3000" dirty="0">
                <a:latin typeface="+mn-lt"/>
              </a:rPr>
              <a:t> </a:t>
            </a:r>
            <a:r>
              <a:rPr lang="en-US" altLang="pt-BR" sz="3000" dirty="0" err="1">
                <a:latin typeface="+mn-lt"/>
              </a:rPr>
              <a:t>Componentes</a:t>
            </a:r>
            <a:endParaRPr lang="en-US" altLang="pt-BR" sz="3000" dirty="0">
              <a:latin typeface="+mn-lt"/>
            </a:endParaRPr>
          </a:p>
        </p:txBody>
      </p:sp>
      <p:sp>
        <p:nvSpPr>
          <p:cNvPr id="11" name="Title 30"/>
          <p:cNvSpPr txBox="1">
            <a:spLocks/>
          </p:cNvSpPr>
          <p:nvPr/>
        </p:nvSpPr>
        <p:spPr>
          <a:xfrm>
            <a:off x="593304" y="814663"/>
            <a:ext cx="12115800" cy="819335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ofstede</a:t>
            </a:r>
            <a:endParaRPr lang="pt-BR" altLang="pt-BR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06644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8" y="3590454"/>
            <a:ext cx="6377582" cy="6377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tângulo 1"/>
          <p:cNvSpPr/>
          <p:nvPr/>
        </p:nvSpPr>
        <p:spPr bwMode="auto">
          <a:xfrm>
            <a:off x="6921351" y="4352315"/>
            <a:ext cx="5989923" cy="279417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870" tIns="51435" rIns="102870" bIns="51435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25">
              <a:solidFill>
                <a:schemeClr val="bg1"/>
              </a:solidFill>
              <a:latin typeface="Helvetica" charset="0"/>
            </a:endParaRPr>
          </a:p>
        </p:txBody>
      </p:sp>
      <p:cxnSp>
        <p:nvCxnSpPr>
          <p:cNvPr id="6" name="Conector reto 5"/>
          <p:cNvCxnSpPr/>
          <p:nvPr/>
        </p:nvCxnSpPr>
        <p:spPr bwMode="auto">
          <a:xfrm>
            <a:off x="4409399" y="5443064"/>
            <a:ext cx="233123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aixaDeTexto 7"/>
          <p:cNvSpPr txBox="1"/>
          <p:nvPr/>
        </p:nvSpPr>
        <p:spPr>
          <a:xfrm>
            <a:off x="6921351" y="4374080"/>
            <a:ext cx="5882767" cy="2580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solidFill>
                  <a:schemeClr val="bg1"/>
                </a:solidFill>
                <a:latin typeface="+mn-lt"/>
              </a:rPr>
              <a:t>São pessoas, vivas ou mortas, reais ou imaginárias, possuem características valorizadas;</a:t>
            </a:r>
          </a:p>
          <a:p>
            <a:pPr marL="671512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solidFill>
                  <a:schemeClr val="bg1"/>
                </a:solidFill>
                <a:latin typeface="+mn-lt"/>
              </a:rPr>
              <a:t>Comportamentos que servem de modelo;</a:t>
            </a:r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593304" y="2192748"/>
            <a:ext cx="9286875" cy="9001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102870" tIns="51435" rIns="102870" bIns="51435" numCol="1" rtlCol="0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pt-BR" sz="3000" dirty="0" err="1">
                <a:latin typeface="+mn-lt"/>
              </a:rPr>
              <a:t>Principais</a:t>
            </a:r>
            <a:r>
              <a:rPr lang="en-US" altLang="pt-BR" sz="3000" dirty="0">
                <a:latin typeface="+mn-lt"/>
              </a:rPr>
              <a:t> </a:t>
            </a:r>
            <a:r>
              <a:rPr lang="en-US" altLang="pt-BR" sz="3000" dirty="0" err="1">
                <a:latin typeface="+mn-lt"/>
              </a:rPr>
              <a:t>Componentes</a:t>
            </a:r>
            <a:endParaRPr lang="en-US" altLang="pt-BR" sz="3000" dirty="0">
              <a:latin typeface="+mn-lt"/>
            </a:endParaRPr>
          </a:p>
        </p:txBody>
      </p:sp>
      <p:sp>
        <p:nvSpPr>
          <p:cNvPr id="10" name="Title 30"/>
          <p:cNvSpPr txBox="1">
            <a:spLocks/>
          </p:cNvSpPr>
          <p:nvPr/>
        </p:nvSpPr>
        <p:spPr>
          <a:xfrm>
            <a:off x="593304" y="814663"/>
            <a:ext cx="12115800" cy="819335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ofstede</a:t>
            </a:r>
            <a:endParaRPr lang="pt-BR" altLang="pt-BR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19807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64" y="3374430"/>
            <a:ext cx="6377582" cy="6377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tângulo 1"/>
          <p:cNvSpPr/>
          <p:nvPr/>
        </p:nvSpPr>
        <p:spPr bwMode="auto">
          <a:xfrm>
            <a:off x="6789440" y="4256682"/>
            <a:ext cx="6030970" cy="4775249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870" tIns="51435" rIns="102870" bIns="51435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25">
              <a:solidFill>
                <a:schemeClr val="bg1"/>
              </a:solidFill>
              <a:latin typeface="Helvetica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 rot="19206163">
            <a:off x="4124732" y="4985114"/>
            <a:ext cx="1915473" cy="507831"/>
          </a:xfrm>
          <a:prstGeom prst="rect">
            <a:avLst/>
          </a:prstGeom>
          <a:solidFill>
            <a:srgbClr val="FF99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700" b="1" dirty="0">
                <a:latin typeface="Calibri" panose="020F0502020204030204" pitchFamily="34" charset="0"/>
              </a:rPr>
              <a:t>Práticas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6910213" y="4638628"/>
            <a:ext cx="5743575" cy="3965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latin typeface="+mn-lt"/>
              </a:rPr>
              <a:t>Sistemas explícitos de reconhecimento e recompensa.</a:t>
            </a:r>
          </a:p>
          <a:p>
            <a:pPr marL="457200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latin typeface="+mn-lt"/>
              </a:rPr>
              <a:t>Práticas de RH: atração e seleção de pessoas aderentes à cultura. Avaliação de </a:t>
            </a:r>
            <a:r>
              <a:rPr lang="pt-BR" sz="3000" i="1" dirty="0">
                <a:latin typeface="+mn-lt"/>
              </a:rPr>
              <a:t>performance</a:t>
            </a:r>
            <a:r>
              <a:rPr lang="pt-BR" sz="3000" dirty="0">
                <a:latin typeface="+mn-lt"/>
              </a:rPr>
              <a:t> que valoriza aqueles que suportam a cultura e penalizam aqueles que se opõem a elas. </a:t>
            </a:r>
          </a:p>
        </p:txBody>
      </p:sp>
      <p:cxnSp>
        <p:nvCxnSpPr>
          <p:cNvPr id="8" name="Conector reto 7"/>
          <p:cNvCxnSpPr/>
          <p:nvPr/>
        </p:nvCxnSpPr>
        <p:spPr bwMode="auto">
          <a:xfrm flipV="1">
            <a:off x="4328381" y="6052565"/>
            <a:ext cx="2461059" cy="64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ítulo 1"/>
          <p:cNvSpPr txBox="1">
            <a:spLocks/>
          </p:cNvSpPr>
          <p:nvPr/>
        </p:nvSpPr>
        <p:spPr bwMode="auto">
          <a:xfrm>
            <a:off x="593304" y="2192748"/>
            <a:ext cx="9286875" cy="9001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102870" tIns="51435" rIns="102870" bIns="51435" numCol="1" rtlCol="0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pt-BR" sz="3000" dirty="0" err="1">
                <a:latin typeface="+mn-lt"/>
              </a:rPr>
              <a:t>Principais</a:t>
            </a:r>
            <a:r>
              <a:rPr lang="en-US" altLang="pt-BR" sz="3000" dirty="0">
                <a:latin typeface="+mn-lt"/>
              </a:rPr>
              <a:t> </a:t>
            </a:r>
            <a:r>
              <a:rPr lang="en-US" altLang="pt-BR" sz="3000" dirty="0" err="1">
                <a:latin typeface="+mn-lt"/>
              </a:rPr>
              <a:t>Componentes</a:t>
            </a:r>
            <a:endParaRPr lang="en-US" altLang="pt-BR" sz="3000" dirty="0">
              <a:latin typeface="+mn-lt"/>
            </a:endParaRPr>
          </a:p>
        </p:txBody>
      </p:sp>
      <p:sp>
        <p:nvSpPr>
          <p:cNvPr id="13" name="Title 30"/>
          <p:cNvSpPr txBox="1">
            <a:spLocks/>
          </p:cNvSpPr>
          <p:nvPr/>
        </p:nvSpPr>
        <p:spPr>
          <a:xfrm>
            <a:off x="593304" y="814663"/>
            <a:ext cx="12115800" cy="819335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ofstede</a:t>
            </a:r>
            <a:endParaRPr lang="pt-BR" altLang="pt-BR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04122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64" y="3284582"/>
            <a:ext cx="6377582" cy="6377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tângulo 1"/>
          <p:cNvSpPr/>
          <p:nvPr/>
        </p:nvSpPr>
        <p:spPr bwMode="auto">
          <a:xfrm>
            <a:off x="6610846" y="5559969"/>
            <a:ext cx="6296630" cy="42939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870" tIns="51435" rIns="102870" bIns="51435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25">
              <a:solidFill>
                <a:schemeClr val="bg1"/>
              </a:solidFill>
              <a:latin typeface="Helvetica" charset="0"/>
            </a:endParaRPr>
          </a:p>
        </p:txBody>
      </p:sp>
      <p:cxnSp>
        <p:nvCxnSpPr>
          <p:cNvPr id="6" name="Conector reto 5"/>
          <p:cNvCxnSpPr/>
          <p:nvPr/>
        </p:nvCxnSpPr>
        <p:spPr bwMode="auto">
          <a:xfrm>
            <a:off x="3853359" y="6795783"/>
            <a:ext cx="27574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aixaDeTexto 7"/>
          <p:cNvSpPr txBox="1"/>
          <p:nvPr/>
        </p:nvSpPr>
        <p:spPr>
          <a:xfrm>
            <a:off x="6880718" y="5797083"/>
            <a:ext cx="602675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 que é inaceitável e a reação </a:t>
            </a:r>
            <a:b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os líderes.</a:t>
            </a:r>
          </a:p>
          <a:p>
            <a:pPr marL="457200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Tolerância a erros.</a:t>
            </a:r>
          </a:p>
          <a:p>
            <a:pPr marL="457200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 que passa ou não desapercebido.</a:t>
            </a:r>
          </a:p>
          <a:p>
            <a:pPr marL="457200" indent="-457200">
              <a:spcBef>
                <a:spcPts val="1350"/>
              </a:spcBef>
              <a:buFont typeface="Wingdings" panose="05000000000000000000" pitchFamily="2" charset="2"/>
              <a:buChar char="§"/>
            </a:pPr>
            <a:r>
              <a:rPr lang="pt-BR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 que o líder dá mais atenção e como aloca recursos.</a:t>
            </a:r>
          </a:p>
          <a:p>
            <a:endParaRPr lang="pt-BR" sz="2700" dirty="0"/>
          </a:p>
        </p:txBody>
      </p:sp>
      <p:sp>
        <p:nvSpPr>
          <p:cNvPr id="10" name="Título 1"/>
          <p:cNvSpPr txBox="1">
            <a:spLocks/>
          </p:cNvSpPr>
          <p:nvPr/>
        </p:nvSpPr>
        <p:spPr bwMode="auto">
          <a:xfrm>
            <a:off x="593304" y="2192748"/>
            <a:ext cx="9286875" cy="9001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102870" tIns="51435" rIns="102870" bIns="51435" numCol="1" rtlCol="0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pt-BR" sz="3000" dirty="0" err="1">
                <a:latin typeface="+mn-lt"/>
              </a:rPr>
              <a:t>Principais</a:t>
            </a:r>
            <a:r>
              <a:rPr lang="en-US" altLang="pt-BR" sz="3000" dirty="0">
                <a:latin typeface="+mn-lt"/>
              </a:rPr>
              <a:t> </a:t>
            </a:r>
            <a:r>
              <a:rPr lang="en-US" altLang="pt-BR" sz="3000" dirty="0" err="1">
                <a:latin typeface="+mn-lt"/>
              </a:rPr>
              <a:t>Componentes</a:t>
            </a:r>
            <a:endParaRPr lang="en-US" altLang="pt-BR" sz="3000" dirty="0">
              <a:latin typeface="+mn-lt"/>
            </a:endParaRPr>
          </a:p>
        </p:txBody>
      </p:sp>
      <p:sp>
        <p:nvSpPr>
          <p:cNvPr id="13" name="Title 30"/>
          <p:cNvSpPr txBox="1">
            <a:spLocks/>
          </p:cNvSpPr>
          <p:nvPr/>
        </p:nvSpPr>
        <p:spPr>
          <a:xfrm>
            <a:off x="593304" y="814663"/>
            <a:ext cx="12115800" cy="819335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ofstede</a:t>
            </a:r>
            <a:endParaRPr lang="pt-BR" altLang="pt-BR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79130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711A0E-A428-4ED1-96CB-33D69FD8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558989" y="3585155"/>
            <a:ext cx="8598025" cy="90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40C62E2A-9AFC-4C85-A01D-61BA25817FA4}"/>
              </a:ext>
            </a:extLst>
          </p:cNvPr>
          <p:cNvSpPr txBox="1">
            <a:spLocks/>
          </p:cNvSpPr>
          <p:nvPr/>
        </p:nvSpPr>
        <p:spPr>
          <a:xfrm>
            <a:off x="1523568" y="4822902"/>
            <a:ext cx="3387815" cy="1571143"/>
          </a:xfrm>
        </p:spPr>
        <p:txBody>
          <a:bodyPr anchor="t" anchorCtr="0"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FSTEDE</a:t>
            </a: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304" y="5203535"/>
            <a:ext cx="3400327" cy="2550245"/>
          </a:xfrm>
          <a:prstGeom prst="rect">
            <a:avLst/>
          </a:prstGeom>
        </p:spPr>
      </p:pic>
      <p:graphicFrame>
        <p:nvGraphicFramePr>
          <p:cNvPr id="22" name="Espaço Reservado para Conteúdo 4">
            <a:extLst>
              <a:ext uri="{FF2B5EF4-FFF2-40B4-BE49-F238E27FC236}">
                <a16:creationId xmlns:a16="http://schemas.microsoft.com/office/drawing/2014/main" id="{1D214510-356F-460B-8DE1-0A676037D58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873334664"/>
              </p:ext>
            </p:extLst>
          </p:nvPr>
        </p:nvGraphicFramePr>
        <p:xfrm>
          <a:off x="1688604" y="2358569"/>
          <a:ext cx="14560454" cy="8070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Title 30"/>
          <p:cNvSpPr txBox="1">
            <a:spLocks/>
          </p:cNvSpPr>
          <p:nvPr/>
        </p:nvSpPr>
        <p:spPr>
          <a:xfrm>
            <a:off x="593304" y="814663"/>
            <a:ext cx="12115800" cy="819335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altLang="pt-BR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ofstede</a:t>
            </a:r>
            <a:endParaRPr lang="pt-BR" altLang="pt-BR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CA0E0031-8797-5F7C-673F-9E234B309A45}"/>
              </a:ext>
            </a:extLst>
          </p:cNvPr>
          <p:cNvSpPr txBox="1"/>
          <p:nvPr/>
        </p:nvSpPr>
        <p:spPr>
          <a:xfrm>
            <a:off x="449288" y="9778916"/>
            <a:ext cx="81229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match.peopleoriented.com.br/researches/solange-pose</a:t>
            </a:r>
          </a:p>
        </p:txBody>
      </p:sp>
    </p:spTree>
    <p:extLst>
      <p:ext uri="{BB962C8B-B14F-4D97-AF65-F5344CB8AC3E}">
        <p14:creationId xmlns:p14="http://schemas.microsoft.com/office/powerpoint/2010/main" val="1188842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>
          <a:xfrm>
            <a:off x="4337720" y="3559324"/>
            <a:ext cx="6879651" cy="207711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cisões rápidas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Ágil para refazer caminhos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ada um de nós precisa desenvolver meios para lidar com ela (empatia,  </a:t>
            </a:r>
            <a:r>
              <a:rPr lang="pt-BR" sz="3100" dirty="0" err="1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indfulness</a:t>
            </a: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segurança psicológica ...).</a:t>
            </a:r>
          </a:p>
        </p:txBody>
      </p:sp>
      <p:pic>
        <p:nvPicPr>
          <p:cNvPr id="9" name="Picture 2" descr="content">
            <a:extLst>
              <a:ext uri="{FF2B5EF4-FFF2-40B4-BE49-F238E27FC236}">
                <a16:creationId xmlns:a16="http://schemas.microsoft.com/office/drawing/2014/main" id="{4E3EA0AC-BD6A-83B3-9E80-CF0232DD30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54" t="17881" r="48942" b="14953"/>
          <a:stretch/>
        </p:blipFill>
        <p:spPr bwMode="auto">
          <a:xfrm>
            <a:off x="881336" y="2983260"/>
            <a:ext cx="2187179" cy="47999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de cantos arredondados 9"/>
          <p:cNvSpPr/>
          <p:nvPr/>
        </p:nvSpPr>
        <p:spPr>
          <a:xfrm>
            <a:off x="650426" y="1084318"/>
            <a:ext cx="354345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  <a:latin typeface="+mj-lt"/>
              </a:rPr>
              <a:t>Atual contexto</a:t>
            </a:r>
          </a:p>
        </p:txBody>
      </p:sp>
    </p:spTree>
    <p:extLst>
      <p:ext uri="{BB962C8B-B14F-4D97-AF65-F5344CB8AC3E}">
        <p14:creationId xmlns:p14="http://schemas.microsoft.com/office/powerpoint/2010/main" val="3178455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2019098"/>
            <a:ext cx="10287000" cy="828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aixaDeTexto 1"/>
          <p:cNvSpPr txBox="1"/>
          <p:nvPr/>
        </p:nvSpPr>
        <p:spPr>
          <a:xfrm>
            <a:off x="305272" y="767649"/>
            <a:ext cx="10945216" cy="90011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75"/>
              </a:spcAft>
            </a:pPr>
            <a:r>
              <a:rPr lang="en-US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lima</a:t>
            </a:r>
            <a:r>
              <a:rPr lang="en-US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e </a:t>
            </a:r>
            <a:r>
              <a:rPr lang="en-US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</a:t>
            </a:r>
            <a:r>
              <a:rPr lang="en-US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rganizacional</a:t>
            </a:r>
            <a:endParaRPr lang="en-US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990108"/>
              </p:ext>
            </p:extLst>
          </p:nvPr>
        </p:nvGraphicFramePr>
        <p:xfrm>
          <a:off x="305272" y="2721770"/>
          <a:ext cx="12728376" cy="586501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3524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759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04888">
                <a:tc>
                  <a:txBody>
                    <a:bodyPr/>
                    <a:lstStyle/>
                    <a:p>
                      <a:pPr algn="ctr"/>
                      <a:r>
                        <a:rPr lang="pt-BR" sz="3200" dirty="0"/>
                        <a:t>CLIMA ORGANIZACIONAL (ESTÁ)</a:t>
                      </a:r>
                      <a:endParaRPr lang="pt-BR" sz="3200" dirty="0">
                        <a:solidFill>
                          <a:schemeClr val="bg1"/>
                        </a:solidFill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200" dirty="0"/>
                        <a:t>CULTURA ORGANIZACIONAL (É)</a:t>
                      </a:r>
                      <a:endParaRPr lang="pt-BR" sz="3200" dirty="0">
                        <a:solidFill>
                          <a:schemeClr val="bg1"/>
                        </a:solidFill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7317"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 espírito da empresa.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onalidade da empresa.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0032"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igado ao grau de satisfação e lealdade de seus membros.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igado ao grau de motivação e comprometimento.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0032"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pectiva de curto e médio prazos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pectiva de médio e longo prazos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42749"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otação de avaliação, positivo/ negativo, bom/ruim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r>
                        <a:rPr lang="pt-BR" sz="3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ão existe avaliação. Não pode ser classificada como certa ou errada, boa ou ruim.</a:t>
                      </a:r>
                      <a:endParaRPr lang="pt-BR" sz="3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958804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14500" y="2019098"/>
            <a:ext cx="10287000" cy="828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Tabela 8"/>
          <p:cNvGraphicFramePr>
            <a:graphicFrameLocks noGrp="1"/>
          </p:cNvGraphicFramePr>
          <p:nvPr/>
        </p:nvGraphicFramePr>
        <p:xfrm>
          <a:off x="233264" y="3321631"/>
          <a:ext cx="12728376" cy="501045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2562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21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2214">
                <a:tc>
                  <a:txBody>
                    <a:bodyPr/>
                    <a:lstStyle/>
                    <a:p>
                      <a:pPr algn="ctr"/>
                      <a:endParaRPr lang="pt-BR" sz="3000" dirty="0">
                        <a:solidFill>
                          <a:schemeClr val="bg1"/>
                        </a:solidFill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pPr algn="ctr"/>
                      <a:endParaRPr lang="pt-BR" sz="3000" dirty="0">
                        <a:solidFill>
                          <a:schemeClr val="bg1"/>
                        </a:solidFill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7317">
                <a:tc>
                  <a:txBody>
                    <a:bodyPr/>
                    <a:lstStyle/>
                    <a:p>
                      <a:pPr algn="l"/>
                      <a:endParaRPr lang="pt-BR" sz="3000" b="1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pt-BR" sz="3000" b="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3694">
                <a:tc>
                  <a:txBody>
                    <a:bodyPr/>
                    <a:lstStyle/>
                    <a:p>
                      <a:pPr algn="l"/>
                      <a:endParaRPr lang="pt-BR" sz="3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algn="l"/>
                      <a:r>
                        <a:rPr lang="pt-BR" sz="300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de</a:t>
                      </a:r>
                      <a:r>
                        <a:rPr lang="pt-BR" sz="3000" baseline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revelar insatisfação: pessoas resistindo à mudança</a:t>
                      </a:r>
                      <a:endParaRPr lang="pt-BR" sz="300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algn="l"/>
                      <a:endParaRPr lang="pt-BR" sz="3000" b="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pt-BR" sz="300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ultura construtiva gera lugar</a:t>
                      </a:r>
                      <a:r>
                        <a:rPr lang="pt-BR" sz="3000" baseline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elhor para trabalhar: não significa que todos estejam felizes todo o tempo</a:t>
                      </a:r>
                      <a:endParaRPr lang="pt-BR" sz="3000" b="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0032">
                <a:tc>
                  <a:txBody>
                    <a:bodyPr/>
                    <a:lstStyle/>
                    <a:p>
                      <a:pPr algn="l"/>
                      <a:r>
                        <a:rPr lang="pt-BR" sz="300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lima melhorando não significa</a:t>
                      </a:r>
                      <a:r>
                        <a:rPr lang="pt-BR" sz="3000" baseline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elhoria na cultura</a:t>
                      </a:r>
                      <a:endParaRPr lang="pt-BR" sz="3000" b="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pt-BR" sz="300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 cultura está melhorando é provável que aconteça</a:t>
                      </a:r>
                      <a:r>
                        <a:rPr lang="pt-BR" sz="3000" baseline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 mesmo com o clima</a:t>
                      </a:r>
                      <a:endParaRPr lang="pt-BR" sz="3000" b="0" dirty="0">
                        <a:latin typeface="+mj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22094" marR="122094" marT="61047" marB="61047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Título 1"/>
          <p:cNvSpPr>
            <a:spLocks/>
          </p:cNvSpPr>
          <p:nvPr/>
        </p:nvSpPr>
        <p:spPr bwMode="auto">
          <a:xfrm>
            <a:off x="8260432" y="9740384"/>
            <a:ext cx="5455568" cy="457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pt-BR" sz="20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onte: Carolyn Taylor – </a:t>
            </a:r>
            <a:r>
              <a:rPr lang="pt-BR" sz="2000" i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alking</a:t>
            </a:r>
            <a:r>
              <a:rPr lang="pt-BR" sz="20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The Talk  </a:t>
            </a:r>
            <a:endParaRPr lang="pt-BR" sz="2000" b="1" i="1" dirty="0">
              <a:solidFill>
                <a:srgbClr val="005476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264" y="3321632"/>
            <a:ext cx="12728376" cy="1078136"/>
          </a:xfrm>
          <a:prstGeom prst="rect">
            <a:avLst/>
          </a:prstGeom>
        </p:spPr>
      </p:pic>
      <p:sp>
        <p:nvSpPr>
          <p:cNvPr id="13" name="CaixaDeTexto 12"/>
          <p:cNvSpPr txBox="1"/>
          <p:nvPr/>
        </p:nvSpPr>
        <p:spPr>
          <a:xfrm>
            <a:off x="247165" y="2760617"/>
            <a:ext cx="5675227" cy="90011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75"/>
              </a:spcAft>
            </a:pPr>
            <a:r>
              <a:rPr lang="en-US" sz="32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ESQUISA CLIMA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6813257" y="2779149"/>
            <a:ext cx="5675227" cy="90011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75"/>
              </a:spcAft>
            </a:pPr>
            <a:r>
              <a:rPr lang="en-US" sz="32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ESQUISA CULTURA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05272" y="683037"/>
            <a:ext cx="10009112" cy="1220103"/>
          </a:xfrm>
          <a:prstGeom prst="rect">
            <a:avLst/>
          </a:prstGeom>
        </p:spPr>
        <p:txBody>
          <a:bodyPr vert="horz" lIns="102870" tIns="51435" rIns="102870" bIns="51435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75"/>
              </a:spcAft>
            </a:pPr>
            <a:r>
              <a:rPr lang="en-US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rrelação</a:t>
            </a:r>
            <a:r>
              <a:rPr lang="en-US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4000" b="1" dirty="0" err="1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esultados</a:t>
            </a:r>
            <a:endParaRPr lang="en-US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90000"/>
              </a:lnSpc>
              <a:spcAft>
                <a:spcPts val="675"/>
              </a:spcAft>
            </a:pPr>
            <a:endParaRPr lang="en-US" sz="4000" b="1" dirty="0">
              <a:solidFill>
                <a:srgbClr val="69ADE7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55081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/>
          <p:cNvSpPr>
            <a:spLocks/>
          </p:cNvSpPr>
          <p:nvPr/>
        </p:nvSpPr>
        <p:spPr bwMode="auto">
          <a:xfrm>
            <a:off x="485453" y="967036"/>
            <a:ext cx="10477003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 organizacional e algumas mudanças</a:t>
            </a:r>
          </a:p>
        </p:txBody>
      </p:sp>
      <p:sp>
        <p:nvSpPr>
          <p:cNvPr id="4" name="Retângulo 3"/>
          <p:cNvSpPr/>
          <p:nvPr/>
        </p:nvSpPr>
        <p:spPr>
          <a:xfrm>
            <a:off x="485453" y="2695228"/>
            <a:ext cx="11047387" cy="573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5763" indent="-385763">
              <a:defRPr/>
            </a:pPr>
            <a:r>
              <a:rPr lang="pt-BR" altLang="pt-BR" sz="3200" dirty="0">
                <a:latin typeface="Calibri" panose="020F0502020204030204" pitchFamily="34" charset="0"/>
              </a:rPr>
              <a:t>Fusões e aquisições</a:t>
            </a:r>
          </a:p>
          <a:p>
            <a:pPr marL="385763" indent="-385763">
              <a:defRPr/>
            </a:pPr>
            <a:endParaRPr lang="pt-BR" sz="3200" dirty="0">
              <a:latin typeface="Calibri" panose="020F0502020204030204" pitchFamily="34" charset="0"/>
            </a:endParaRPr>
          </a:p>
          <a:p>
            <a:pPr marL="457200" indent="-457200" algn="just">
              <a:spcBef>
                <a:spcPts val="1350"/>
              </a:spcBef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31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usões: “Construção” de uma nova empresa e de uma nova cultura.</a:t>
            </a:r>
          </a:p>
          <a:p>
            <a:pPr marL="457200" indent="-457200" algn="just">
              <a:spcBef>
                <a:spcPts val="1350"/>
              </a:spcBef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31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quisições: Sobreposições de culturas, com distinção entre cultura dominante e cultura dominada.</a:t>
            </a:r>
          </a:p>
          <a:p>
            <a:pPr marL="457200" indent="-457200" algn="just">
              <a:spcBef>
                <a:spcPts val="1350"/>
              </a:spcBef>
              <a:buClr>
                <a:srgbClr val="69ADE7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31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eestruturações: Mudanças sobre a empresa existente, podendo impactar em rupturas de aspectos de sua cultura.</a:t>
            </a:r>
          </a:p>
          <a:p>
            <a:pPr marL="457200" indent="-457200" algn="just">
              <a:lnSpc>
                <a:spcPct val="150000"/>
              </a:lnSpc>
              <a:spcBef>
                <a:spcPct val="20000"/>
              </a:spcBef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endParaRPr lang="pt-BR" altLang="pt-BR" sz="30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>
              <a:lnSpc>
                <a:spcPct val="80000"/>
              </a:lnSpc>
              <a:spcBef>
                <a:spcPct val="20000"/>
              </a:spcBef>
              <a:buClr>
                <a:srgbClr val="69ADE7"/>
              </a:buClr>
              <a:buFont typeface="Wingdings" panose="05000000000000000000" pitchFamily="2" charset="2"/>
              <a:buChar char="§"/>
              <a:defRPr/>
            </a:pPr>
            <a:endParaRPr lang="pt-BR" altLang="pt-BR" sz="30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16407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2"/>
          <p:cNvSpPr txBox="1">
            <a:spLocks/>
          </p:cNvSpPr>
          <p:nvPr/>
        </p:nvSpPr>
        <p:spPr>
          <a:xfrm>
            <a:off x="449288" y="1543100"/>
            <a:ext cx="12313368" cy="842493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pt-BR" sz="3100" dirty="0">
                <a:cs typeface="Helvetica"/>
              </a:rPr>
              <a:t>Para mudar a cultura (mantendo o que se deseja manter) basta seguir alguns passos simples, mas que encerram em cada um uma enormidade de coisas a administrar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3200" b="1" dirty="0">
                <a:cs typeface="Helvetica"/>
              </a:rPr>
              <a:t> </a:t>
            </a:r>
            <a:endParaRPr lang="pt-BR" sz="3200" dirty="0">
              <a:cs typeface="Helvetica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pt-BR" sz="3100" dirty="0">
                <a:highlight>
                  <a:srgbClr val="C0E3F8"/>
                </a:highlight>
                <a:cs typeface="Helvetica"/>
              </a:rPr>
              <a:t>1.  Descrever a cultura atual e a cultura desejada</a:t>
            </a:r>
          </a:p>
          <a:p>
            <a:pPr marL="457200" lvl="1" indent="0">
              <a:lnSpc>
                <a:spcPct val="120000"/>
              </a:lnSpc>
              <a:buNone/>
            </a:pPr>
            <a:r>
              <a:rPr lang="pt-BR" sz="2800" dirty="0">
                <a:cs typeface="Helvetica"/>
              </a:rPr>
              <a:t>Basicamente isto se obtém com o diagnóstico da cultura organizacional , de um jeito ou de outro.</a:t>
            </a:r>
          </a:p>
          <a:p>
            <a:pPr marL="0" indent="0">
              <a:buNone/>
            </a:pPr>
            <a:endParaRPr lang="pt-BR" sz="5100" dirty="0">
              <a:cs typeface="Helvetica"/>
            </a:endParaRPr>
          </a:p>
          <a:p>
            <a:pPr marL="0" indent="0">
              <a:buNone/>
            </a:pPr>
            <a:endParaRPr lang="pt-BR" sz="5600" dirty="0">
              <a:cs typeface="Helvetica"/>
            </a:endParaRPr>
          </a:p>
          <a:p>
            <a:pPr marL="0" indent="0" algn="r">
              <a:buNone/>
            </a:pPr>
            <a:r>
              <a:rPr lang="pt-BR" sz="2200" i="1" dirty="0">
                <a:cs typeface="Helvetica"/>
              </a:rPr>
              <a:t>Referência: LANZER, Fernando. Clima e cultura organizacional.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-1566936" y="318964"/>
            <a:ext cx="10948075" cy="1044116"/>
          </a:xfrm>
        </p:spPr>
        <p:txBody>
          <a:bodyPr/>
          <a:lstStyle/>
          <a:p>
            <a:r>
              <a:rPr lang="pt-BR" sz="4100" b="1" dirty="0">
                <a:solidFill>
                  <a:srgbClr val="69ADE7"/>
                </a:solidFill>
                <a:cs typeface="Arial" panose="020B0604020202020204" pitchFamily="34" charset="0"/>
              </a:rPr>
              <a:t>Mudando a cultura organizacional</a:t>
            </a:r>
          </a:p>
        </p:txBody>
      </p:sp>
    </p:spTree>
    <p:extLst>
      <p:ext uri="{BB962C8B-B14F-4D97-AF65-F5344CB8AC3E}">
        <p14:creationId xmlns:p14="http://schemas.microsoft.com/office/powerpoint/2010/main" val="424516092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/>
          <p:cNvSpPr/>
          <p:nvPr/>
        </p:nvSpPr>
        <p:spPr>
          <a:xfrm>
            <a:off x="5453844" y="8491873"/>
            <a:ext cx="3215001" cy="484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olaboradore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687" t="7979"/>
          <a:stretch/>
        </p:blipFill>
        <p:spPr>
          <a:xfrm>
            <a:off x="274315" y="1015243"/>
            <a:ext cx="11871226" cy="9250177"/>
          </a:xfrm>
          <a:prstGeom prst="rect">
            <a:avLst/>
          </a:prstGeom>
        </p:spPr>
      </p:pic>
      <p:pic>
        <p:nvPicPr>
          <p:cNvPr id="24" name="Imagem 2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t="10500" r="31469" b="-399"/>
          <a:stretch/>
        </p:blipFill>
        <p:spPr>
          <a:xfrm>
            <a:off x="6209928" y="1039043"/>
            <a:ext cx="6624536" cy="9247957"/>
          </a:xfrm>
          <a:prstGeom prst="rect">
            <a:avLst/>
          </a:prstGeom>
        </p:spPr>
      </p:pic>
      <p:sp>
        <p:nvSpPr>
          <p:cNvPr id="25" name="Text Box 11"/>
          <p:cNvSpPr txBox="1">
            <a:spLocks noChangeArrowheads="1"/>
          </p:cNvSpPr>
          <p:nvPr/>
        </p:nvSpPr>
        <p:spPr bwMode="auto">
          <a:xfrm>
            <a:off x="-2672538" y="174948"/>
            <a:ext cx="13274954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usão e aquisição: choque cultural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DCF4A79A-3C68-9A2B-D5FF-2E977A9C5C1C}"/>
              </a:ext>
            </a:extLst>
          </p:cNvPr>
          <p:cNvSpPr/>
          <p:nvPr/>
        </p:nvSpPr>
        <p:spPr>
          <a:xfrm>
            <a:off x="9953400" y="9404166"/>
            <a:ext cx="28630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s imagens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49097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ixaDeTexto 2">
            <a:extLst>
              <a:ext uri="{FF2B5EF4-FFF2-40B4-BE49-F238E27FC236}">
                <a16:creationId xmlns:a16="http://schemas.microsoft.com/office/drawing/2014/main" id="{19A533A7-3BF7-496D-8D81-8B7E15A439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923" y="587788"/>
            <a:ext cx="1249441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usão e aquisição 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439255" y="1327076"/>
            <a:ext cx="5720349" cy="4882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Cultura evidencia os piores defeitos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454923" y="3359726"/>
            <a:ext cx="5397222" cy="2839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“O grupo que observa os comportamentos, símbolos, sistemas do outro, julgam de acordo  com o seu próprio modelo mental e fazem suposições, em geral, negativas, sobre o outro grupo.”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9728" y="2623220"/>
            <a:ext cx="10443074" cy="7122503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839797" y="8948246"/>
            <a:ext cx="7128792" cy="356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sz="2000" i="1" dirty="0"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Walking The Talk – A Cultura através do Exemplo - Carolyn Taylor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439255" y="7064273"/>
            <a:ext cx="5397222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“A grande maioria das fusões – o mercado fala em 70% - não dá certo por causa das “questões culturais”. 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E22E82C-C628-5487-DB07-7CC8CAEE1FB6}"/>
              </a:ext>
            </a:extLst>
          </p:cNvPr>
          <p:cNvSpPr/>
          <p:nvPr/>
        </p:nvSpPr>
        <p:spPr>
          <a:xfrm>
            <a:off x="9830575" y="9765908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i="1" dirty="0">
                <a:latin typeface="Calibri" panose="020F0502020204030204" pitchFamily="34" charset="0"/>
              </a:rPr>
              <a:t>Créditos da imagem </a:t>
            </a:r>
            <a:r>
              <a:rPr lang="pt-BR" sz="2000" i="1" dirty="0" err="1">
                <a:latin typeface="Calibri" panose="020F0502020204030204" pitchFamily="34" charset="0"/>
              </a:rPr>
              <a:t>Pixabay</a:t>
            </a:r>
            <a:endParaRPr lang="pt-BR" sz="20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71526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3244" y="2485562"/>
            <a:ext cx="3564396" cy="772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 melhor de ambas</a:t>
            </a:r>
          </a:p>
          <a:p>
            <a:pPr>
              <a:lnSpc>
                <a:spcPct val="85000"/>
              </a:lnSpc>
              <a:defRPr/>
            </a:pPr>
            <a:r>
              <a:rPr lang="pt-PT" altLang="pt-PT" sz="22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ltura de melhores práticas</a:t>
            </a:r>
          </a:p>
        </p:txBody>
      </p:sp>
      <p:sp>
        <p:nvSpPr>
          <p:cNvPr id="4" name="Retângulo 3"/>
          <p:cNvSpPr/>
          <p:nvPr/>
        </p:nvSpPr>
        <p:spPr>
          <a:xfrm>
            <a:off x="161256" y="3369869"/>
            <a:ext cx="3240360" cy="572851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Maior parte diz que é a estratégia que desejam;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Difícil de implantar e acaba não acontecendo;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Precisa de planejamento e execução com disciplina;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Urgência de sinergia de custos , sistemas e processos 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Palatável para empresa que foi adquirida </a:t>
            </a:r>
            <a:r>
              <a:rPr lang="pt-BR" sz="1500" i="1" dirty="0">
                <a:ea typeface="Verdana" panose="020B0604030504040204" pitchFamily="34" charset="0"/>
                <a:cs typeface="Verdana" panose="020B0604030504040204" pitchFamily="34" charset="0"/>
              </a:rPr>
              <a:t>(respeita as tradições)</a:t>
            </a:r>
          </a:p>
        </p:txBody>
      </p:sp>
      <p:sp>
        <p:nvSpPr>
          <p:cNvPr id="8" name="Retângulo 7"/>
          <p:cNvSpPr/>
          <p:nvPr/>
        </p:nvSpPr>
        <p:spPr>
          <a:xfrm>
            <a:off x="3545632" y="3411432"/>
            <a:ext cx="3240360" cy="57285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Uma das culturas como base do processo e integramos outra. 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Cultura da empresa que adquiriu vai se tornar dominante;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Esta opção é adequada quando uma das culturas possui claramente a melhor prática  e quando não há disposição para um trabalho profundo de cultura;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endParaRPr lang="pt-BR" sz="21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6894004" y="3411432"/>
            <a:ext cx="2808312" cy="57285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Requer manter os negócios separados;</a:t>
            </a:r>
          </a:p>
          <a:p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ea typeface="Verdana" panose="020B0604030504040204" pitchFamily="34" charset="0"/>
                <a:cs typeface="Verdana" panose="020B0604030504040204" pitchFamily="34" charset="0"/>
              </a:rPr>
              <a:t>Interminável conflito;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endParaRPr lang="pt-BR" sz="21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9810328" y="3369869"/>
            <a:ext cx="3240360" cy="5728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mbas empresas tem culturas que precisam melhorar. Se a construção de uma nova cultura já é difícil, é ainda mais desafiador fazê-lo durante a integração.</a:t>
            </a:r>
          </a:p>
          <a:p>
            <a:pPr marL="428625" indent="-428625">
              <a:buFont typeface="Wingdings" panose="05000000000000000000" pitchFamily="2" charset="2"/>
              <a:buChar char="§"/>
            </a:pPr>
            <a:r>
              <a:rPr lang="pt-BR" sz="21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sta opção parece com a </a:t>
            </a:r>
            <a:r>
              <a:rPr lang="pt-BR" sz="2100" i="1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“Melhor de ambas</a:t>
            </a:r>
            <a:r>
              <a:rPr lang="pt-BR" sz="21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”, mas assume que nenhuma das duas possui bons atributos;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3545632" y="2477441"/>
            <a:ext cx="3348372" cy="484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scolher uma delas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9990348" y="2285837"/>
            <a:ext cx="2865391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struir uma cultura diferente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6930008" y="2471383"/>
            <a:ext cx="3816424" cy="484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pt-PT" altLang="pt-PT" sz="30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Manter amba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62AEAFAE-DD63-4260-A0FB-CDFE91981A7E}"/>
              </a:ext>
            </a:extLst>
          </p:cNvPr>
          <p:cNvSpPr/>
          <p:nvPr/>
        </p:nvSpPr>
        <p:spPr>
          <a:xfrm>
            <a:off x="5333702" y="9831718"/>
            <a:ext cx="7544877" cy="356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pt-PT" altLang="pt-PT" sz="20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alking The Talk – A Cultura através do Exemplo - Carolyn Taylor</a:t>
            </a:r>
          </a:p>
        </p:txBody>
      </p:sp>
      <p:sp>
        <p:nvSpPr>
          <p:cNvPr id="18" name="Espaço Reservado para Texto 1"/>
          <p:cNvSpPr txBox="1">
            <a:spLocks/>
          </p:cNvSpPr>
          <p:nvPr/>
        </p:nvSpPr>
        <p:spPr>
          <a:xfrm>
            <a:off x="161256" y="390972"/>
            <a:ext cx="12084081" cy="648071"/>
          </a:xfrm>
          <a:prstGeom prst="rect">
            <a:avLst/>
          </a:prstGeom>
        </p:spPr>
        <p:txBody>
          <a:bodyPr/>
          <a:lstStyle>
            <a:lvl1pPr marL="385715" indent="-38571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5715" indent="-32142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716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289" indent="-25714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574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2860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147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432" indent="-257144" algn="l" defTabSz="10285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00000"/>
              <a:buNone/>
            </a:pPr>
            <a:r>
              <a:rPr lang="pt-BR" sz="4000" b="1" dirty="0">
                <a:solidFill>
                  <a:srgbClr val="69ADE7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stratégia cultura</a:t>
            </a:r>
          </a:p>
          <a:p>
            <a:pPr marL="0" indent="0">
              <a:buSzPct val="100000"/>
              <a:buNone/>
            </a:pPr>
            <a:endParaRPr lang="pt-BR" sz="1800" b="1" dirty="0">
              <a:solidFill>
                <a:srgbClr val="69ADE7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SzPct val="100000"/>
              <a:buNone/>
            </a:pPr>
            <a:r>
              <a:rPr lang="pt-BR" sz="3200" b="1" dirty="0">
                <a:ea typeface="Verdana" panose="020B0604030504040204" pitchFamily="34" charset="0"/>
                <a:cs typeface="Verdana" panose="020B0604030504040204" pitchFamily="34" charset="0"/>
              </a:rPr>
              <a:t>Opções</a:t>
            </a:r>
          </a:p>
        </p:txBody>
      </p:sp>
    </p:spTree>
    <p:extLst>
      <p:ext uri="{BB962C8B-B14F-4D97-AF65-F5344CB8AC3E}">
        <p14:creationId xmlns:p14="http://schemas.microsoft.com/office/powerpoint/2010/main" val="338935932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 animBg="1"/>
      <p:bldP spid="14" grpId="0"/>
      <p:bldP spid="15" grpId="0"/>
      <p:bldP spid="16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2"/>
          <p:cNvSpPr txBox="1">
            <a:spLocks/>
          </p:cNvSpPr>
          <p:nvPr/>
        </p:nvSpPr>
        <p:spPr>
          <a:xfrm>
            <a:off x="144016" y="1255068"/>
            <a:ext cx="12978680" cy="9031932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pt-BR" sz="12400" dirty="0">
                <a:cs typeface="Helvetica"/>
              </a:rPr>
              <a:t>Para mudar a cultura (mantendo o que se deseja manter) basta seguir alguns passos simples, mas que encerram em cada um uma enormidade de coisas a administrar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3200" b="1" dirty="0">
                <a:cs typeface="Helvetica"/>
              </a:rPr>
              <a:t> </a:t>
            </a:r>
            <a:endParaRPr lang="pt-BR" sz="3200" dirty="0">
              <a:cs typeface="Helvetica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pt-BR" sz="9600" dirty="0">
                <a:highlight>
                  <a:srgbClr val="C0E3F8"/>
                </a:highlight>
                <a:cs typeface="Helvetica"/>
              </a:rPr>
              <a:t>1.  </a:t>
            </a:r>
            <a:r>
              <a:rPr lang="pt-BR" sz="12400" dirty="0">
                <a:highlight>
                  <a:srgbClr val="C0E3F8"/>
                </a:highlight>
                <a:cs typeface="Helvetica"/>
              </a:rPr>
              <a:t>Descrever a cultura atual e a cultura desejada</a:t>
            </a:r>
          </a:p>
          <a:p>
            <a:pPr marL="457200" lvl="1" indent="0">
              <a:lnSpc>
                <a:spcPct val="120000"/>
              </a:lnSpc>
              <a:buNone/>
            </a:pPr>
            <a:r>
              <a:rPr lang="pt-BR" sz="9600" dirty="0">
                <a:cs typeface="Helvetica"/>
              </a:rPr>
              <a:t>Basicamente isto se obtém com o diagnóstico da cultura organizacional , de um jeito ou de outro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12400" dirty="0">
                <a:highlight>
                  <a:srgbClr val="C0E3F8"/>
                </a:highlight>
                <a:cs typeface="Helvetica"/>
              </a:rPr>
              <a:t>2.  Comunicar a cultura desejada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9600" dirty="0">
                <a:cs typeface="Helvetica"/>
              </a:rPr>
              <a:t>      Através de um amplo programa de comunicação interna, permanente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12400" dirty="0">
                <a:highlight>
                  <a:srgbClr val="C0E3F8"/>
                </a:highlight>
                <a:cs typeface="Helvetica"/>
              </a:rPr>
              <a:t>3.  Engajar as pessoas</a:t>
            </a:r>
          </a:p>
          <a:p>
            <a:pPr marL="457200" lvl="1" indent="0">
              <a:lnSpc>
                <a:spcPct val="120000"/>
              </a:lnSpc>
              <a:buNone/>
            </a:pPr>
            <a:r>
              <a:rPr lang="pt-BR" sz="9200" dirty="0">
                <a:cs typeface="Helvetica"/>
              </a:rPr>
              <a:t>Em um diálogo autêntico para que adotem genuinamente os valores e a cultura desejados, para que seu comportamento seja um espelho da cultura desejada e para tornar a cultura real coerente com os valores corporativos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12400" dirty="0">
                <a:highlight>
                  <a:srgbClr val="C0E3F8"/>
                </a:highlight>
                <a:cs typeface="Helvetica"/>
              </a:rPr>
              <a:t>4.  Liderar pelo exemplo</a:t>
            </a:r>
          </a:p>
          <a:p>
            <a:pPr marL="457200" lvl="1" indent="0">
              <a:lnSpc>
                <a:spcPct val="120000"/>
              </a:lnSpc>
              <a:buNone/>
            </a:pPr>
            <a:r>
              <a:rPr lang="pt-BR" sz="9200" dirty="0">
                <a:cs typeface="Helvetica"/>
              </a:rPr>
              <a:t>Pelo exemplo do CEO, dos Diretores e principais ´líderes formais e informais da organização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12400" dirty="0">
                <a:highlight>
                  <a:srgbClr val="C0E3F8"/>
                </a:highlight>
                <a:cs typeface="Helvetica"/>
              </a:rPr>
              <a:t>5.  Revisar as políticas organizacionais</a:t>
            </a:r>
          </a:p>
          <a:p>
            <a:pPr marL="457200" lvl="1" indent="0">
              <a:lnSpc>
                <a:spcPct val="120000"/>
              </a:lnSpc>
              <a:buNone/>
            </a:pPr>
            <a:r>
              <a:rPr lang="pt-BR" sz="9200" dirty="0">
                <a:cs typeface="Helvetica"/>
              </a:rPr>
              <a:t>Para que reforcem a cultura desejada, eliminando discrepâncias e contradições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pt-BR" sz="12400" dirty="0">
                <a:highlight>
                  <a:srgbClr val="C0E3F8"/>
                </a:highlight>
                <a:cs typeface="Helvetica"/>
              </a:rPr>
              <a:t>6.  Criar mecanismos de acompanhamento e renovação da cultura</a:t>
            </a:r>
          </a:p>
          <a:p>
            <a:pPr marL="0" indent="0">
              <a:buNone/>
            </a:pPr>
            <a:r>
              <a:rPr lang="pt-BR" sz="5600" dirty="0">
                <a:cs typeface="Helvetica"/>
              </a:rPr>
              <a:t> </a:t>
            </a:r>
          </a:p>
          <a:p>
            <a:pPr marL="0" indent="0" algn="r">
              <a:buNone/>
            </a:pPr>
            <a:r>
              <a:rPr lang="pt-BR" sz="8000" i="1" dirty="0">
                <a:cs typeface="Helvetica"/>
              </a:rPr>
              <a:t>Referência: LANZER, Fernando. Clima e cultura organizacional.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-1566936" y="318964"/>
            <a:ext cx="10948075" cy="1044116"/>
          </a:xfrm>
        </p:spPr>
        <p:txBody>
          <a:bodyPr/>
          <a:lstStyle/>
          <a:p>
            <a:r>
              <a:rPr lang="pt-BR" sz="4100" b="1" dirty="0">
                <a:solidFill>
                  <a:srgbClr val="69ADE7"/>
                </a:solidFill>
                <a:cs typeface="Arial" panose="020B0604020202020204" pitchFamily="34" charset="0"/>
              </a:rPr>
              <a:t>Mudando a cultura organizacional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4AC8DFD2-57A1-FEFD-AAF0-7E3E887704FB}"/>
              </a:ext>
            </a:extLst>
          </p:cNvPr>
          <p:cNvSpPr txBox="1">
            <a:spLocks/>
          </p:cNvSpPr>
          <p:nvPr/>
        </p:nvSpPr>
        <p:spPr>
          <a:xfrm>
            <a:off x="377280" y="9780063"/>
            <a:ext cx="6703219" cy="375945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20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724549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9145016" y="9680004"/>
            <a:ext cx="6858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i="1" dirty="0">
                <a:latin typeface="+mn-lt"/>
              </a:rPr>
              <a:t>Fonte: </a:t>
            </a:r>
            <a:r>
              <a:rPr lang="pt-BR" i="1" dirty="0" err="1">
                <a:latin typeface="+mn-lt"/>
              </a:rPr>
              <a:t>McKinsey@Company</a:t>
            </a:r>
            <a:r>
              <a:rPr lang="pt-BR" i="1" dirty="0">
                <a:latin typeface="+mn-lt"/>
              </a:rPr>
              <a:t> , out/2023;</a:t>
            </a:r>
          </a:p>
        </p:txBody>
      </p:sp>
      <p:sp>
        <p:nvSpPr>
          <p:cNvPr id="6" name="Retângulo de cantos arredondados 5"/>
          <p:cNvSpPr/>
          <p:nvPr/>
        </p:nvSpPr>
        <p:spPr>
          <a:xfrm>
            <a:off x="493317" y="914746"/>
            <a:ext cx="12729366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10 macrotendências: realizando mudança significativa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432F1347-C04F-A234-E04A-BDA6F6E9A3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725" t="19200" r="14300" b="7067"/>
          <a:stretch/>
        </p:blipFill>
        <p:spPr>
          <a:xfrm>
            <a:off x="665312" y="2263180"/>
            <a:ext cx="12157503" cy="6909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70284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EDF8C-3DB7-BF4D-37E8-BB69F2AC0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467C315D-4F09-BE3A-9928-CB624B1FA077}"/>
              </a:ext>
            </a:extLst>
          </p:cNvPr>
          <p:cNvSpPr txBox="1">
            <a:spLocks/>
          </p:cNvSpPr>
          <p:nvPr/>
        </p:nvSpPr>
        <p:spPr>
          <a:xfrm>
            <a:off x="106178" y="610868"/>
            <a:ext cx="7454972" cy="5824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100" b="1" dirty="0">
                <a:solidFill>
                  <a:srgbClr val="69ADE7"/>
                </a:solidFill>
              </a:rPr>
              <a:t>O que são </a:t>
            </a:r>
            <a:r>
              <a:rPr lang="pt-BR" sz="4100" b="1" i="1" dirty="0">
                <a:solidFill>
                  <a:srgbClr val="69ADE7"/>
                </a:solidFill>
              </a:rPr>
              <a:t>stakeholders?</a:t>
            </a:r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id="{72F897CB-22B0-3FB3-595C-BBDE17ED8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3664" y="1759124"/>
            <a:ext cx="5076576" cy="2952328"/>
          </a:xfrm>
          <a:prstGeom prst="rect">
            <a:avLst/>
          </a:prstGeom>
        </p:spPr>
      </p:pic>
      <p:sp>
        <p:nvSpPr>
          <p:cNvPr id="6" name="Rectangle: Top Corners Rounded 1">
            <a:extLst>
              <a:ext uri="{FF2B5EF4-FFF2-40B4-BE49-F238E27FC236}">
                <a16:creationId xmlns:a16="http://schemas.microsoft.com/office/drawing/2014/main" id="{D4D7CDD5-04E3-5543-EA22-C238889621F6}"/>
              </a:ext>
            </a:extLst>
          </p:cNvPr>
          <p:cNvSpPr/>
          <p:nvPr/>
        </p:nvSpPr>
        <p:spPr>
          <a:xfrm>
            <a:off x="1356735" y="4973006"/>
            <a:ext cx="2188897" cy="674550"/>
          </a:xfrm>
          <a:prstGeom prst="round2SameRect">
            <a:avLst/>
          </a:prstGeom>
          <a:solidFill>
            <a:srgbClr val="FED1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Pessoas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8" name="Rectangle: Top Corners Rounded 32">
            <a:extLst>
              <a:ext uri="{FF2B5EF4-FFF2-40B4-BE49-F238E27FC236}">
                <a16:creationId xmlns:a16="http://schemas.microsoft.com/office/drawing/2014/main" id="{99427978-8490-93D5-D93F-849671AE3C0B}"/>
              </a:ext>
            </a:extLst>
          </p:cNvPr>
          <p:cNvSpPr/>
          <p:nvPr/>
        </p:nvSpPr>
        <p:spPr>
          <a:xfrm>
            <a:off x="5221726" y="4973006"/>
            <a:ext cx="2188897" cy="674550"/>
          </a:xfrm>
          <a:prstGeom prst="round2SameRect">
            <a:avLst/>
          </a:prstGeom>
          <a:solidFill>
            <a:srgbClr val="00C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Grupos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9" name="Rectangle: Top Corners Rounded 33">
            <a:extLst>
              <a:ext uri="{FF2B5EF4-FFF2-40B4-BE49-F238E27FC236}">
                <a16:creationId xmlns:a16="http://schemas.microsoft.com/office/drawing/2014/main" id="{84E8EA88-5E68-1FAD-D10F-7215DB888BB0}"/>
              </a:ext>
            </a:extLst>
          </p:cNvPr>
          <p:cNvSpPr/>
          <p:nvPr/>
        </p:nvSpPr>
        <p:spPr>
          <a:xfrm>
            <a:off x="8586192" y="4973006"/>
            <a:ext cx="2188897" cy="674550"/>
          </a:xfrm>
          <a:prstGeom prst="round2SameRect">
            <a:avLst/>
          </a:prstGeom>
          <a:solidFill>
            <a:srgbClr val="FFC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Organizações</a:t>
            </a:r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2">
            <a:extLst>
              <a:ext uri="{FF2B5EF4-FFF2-40B4-BE49-F238E27FC236}">
                <a16:creationId xmlns:a16="http://schemas.microsoft.com/office/drawing/2014/main" id="{69D91FEE-EFF5-ED64-3B0E-A0FEE8AE58B8}"/>
              </a:ext>
            </a:extLst>
          </p:cNvPr>
          <p:cNvSpPr/>
          <p:nvPr/>
        </p:nvSpPr>
        <p:spPr>
          <a:xfrm>
            <a:off x="1313632" y="5791572"/>
            <a:ext cx="2232000" cy="3960000"/>
          </a:xfrm>
          <a:prstGeom prst="roundRect">
            <a:avLst>
              <a:gd name="adj" fmla="val 7267"/>
            </a:avLst>
          </a:prstGeom>
          <a:solidFill>
            <a:srgbClr val="807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2" name="Rectangle: Rounded Corners 14">
            <a:extLst>
              <a:ext uri="{FF2B5EF4-FFF2-40B4-BE49-F238E27FC236}">
                <a16:creationId xmlns:a16="http://schemas.microsoft.com/office/drawing/2014/main" id="{3E39404F-C8BF-211F-96A8-C4D53AB97272}"/>
              </a:ext>
            </a:extLst>
          </p:cNvPr>
          <p:cNvSpPr/>
          <p:nvPr/>
        </p:nvSpPr>
        <p:spPr>
          <a:xfrm>
            <a:off x="8610600" y="5791572"/>
            <a:ext cx="2232000" cy="3960000"/>
          </a:xfrm>
          <a:prstGeom prst="roundRect">
            <a:avLst>
              <a:gd name="adj" fmla="val 7762"/>
            </a:avLst>
          </a:prstGeom>
          <a:solidFill>
            <a:srgbClr val="00C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3" name="Arrow: Chevron 8">
            <a:extLst>
              <a:ext uri="{FF2B5EF4-FFF2-40B4-BE49-F238E27FC236}">
                <a16:creationId xmlns:a16="http://schemas.microsoft.com/office/drawing/2014/main" id="{29F800B7-24F6-7E6E-104B-86F5E223F43D}"/>
              </a:ext>
            </a:extLst>
          </p:cNvPr>
          <p:cNvSpPr/>
          <p:nvPr/>
        </p:nvSpPr>
        <p:spPr>
          <a:xfrm>
            <a:off x="3730171" y="6123249"/>
            <a:ext cx="4731657" cy="154053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 err="1">
                <a:solidFill>
                  <a:schemeClr val="tx1"/>
                </a:solidFill>
              </a:rPr>
              <a:t>Pod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fetar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influenciando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iretamente</a:t>
            </a:r>
            <a:r>
              <a:rPr lang="en-ID" dirty="0">
                <a:solidFill>
                  <a:schemeClr val="tx1"/>
                </a:solidFill>
              </a:rPr>
              <a:t> o Projeto </a:t>
            </a:r>
            <a:r>
              <a:rPr lang="en-ID" dirty="0" err="1">
                <a:solidFill>
                  <a:schemeClr val="tx1"/>
                </a:solidFill>
              </a:rPr>
              <a:t>ou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seus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resultados</a:t>
            </a:r>
            <a:r>
              <a:rPr lang="en-ID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4" name="Arrow: Chevron 18">
            <a:extLst>
              <a:ext uri="{FF2B5EF4-FFF2-40B4-BE49-F238E27FC236}">
                <a16:creationId xmlns:a16="http://schemas.microsoft.com/office/drawing/2014/main" id="{F5589F81-AE1A-6CB1-A3FD-93E0D53B0EF8}"/>
              </a:ext>
            </a:extLst>
          </p:cNvPr>
          <p:cNvSpPr/>
          <p:nvPr/>
        </p:nvSpPr>
        <p:spPr>
          <a:xfrm flipH="1">
            <a:off x="3730171" y="8067196"/>
            <a:ext cx="4731657" cy="1540800"/>
          </a:xfrm>
          <a:prstGeom prst="chevron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 err="1">
                <a:solidFill>
                  <a:schemeClr val="tx1"/>
                </a:solidFill>
              </a:rPr>
              <a:t>Pode</a:t>
            </a:r>
            <a:r>
              <a:rPr lang="en-ID" dirty="0">
                <a:solidFill>
                  <a:schemeClr val="tx1"/>
                </a:solidFill>
              </a:rPr>
              <a:t> ser </a:t>
            </a:r>
            <a:r>
              <a:rPr lang="en-ID" dirty="0" err="1">
                <a:solidFill>
                  <a:schemeClr val="tx1"/>
                </a:solidFill>
              </a:rPr>
              <a:t>afetdos</a:t>
            </a:r>
            <a:endParaRPr lang="en-ID" dirty="0">
              <a:solidFill>
                <a:schemeClr val="tx1"/>
              </a:solidFill>
            </a:endParaRPr>
          </a:p>
          <a:p>
            <a:pPr algn="ctr"/>
            <a:r>
              <a:rPr lang="en-ID" dirty="0" err="1">
                <a:solidFill>
                  <a:schemeClr val="tx1"/>
                </a:solidFill>
              </a:rPr>
              <a:t>Sentir</a:t>
            </a:r>
            <a:r>
              <a:rPr lang="en-ID" dirty="0">
                <a:solidFill>
                  <a:schemeClr val="tx1"/>
                </a:solidFill>
              </a:rPr>
              <a:t>-se </a:t>
            </a:r>
            <a:r>
              <a:rPr lang="en-ID" dirty="0" err="1">
                <a:solidFill>
                  <a:schemeClr val="tx1"/>
                </a:solidFill>
              </a:rPr>
              <a:t>afetadas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ma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ecisão</a:t>
            </a:r>
            <a:endParaRPr lang="en-ID" dirty="0">
              <a:solidFill>
                <a:schemeClr val="tx1"/>
              </a:solidFill>
            </a:endParaRPr>
          </a:p>
        </p:txBody>
      </p:sp>
      <p:pic>
        <p:nvPicPr>
          <p:cNvPr id="15" name="Graphic 20">
            <a:extLst>
              <a:ext uri="{FF2B5EF4-FFF2-40B4-BE49-F238E27FC236}">
                <a16:creationId xmlns:a16="http://schemas.microsoft.com/office/drawing/2014/main" id="{8E821FD2-10D4-5242-D42A-51AA7F2F3C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02216" y="6586204"/>
            <a:ext cx="1790700" cy="1790700"/>
          </a:xfrm>
          <a:prstGeom prst="rect">
            <a:avLst/>
          </a:prstGeom>
        </p:spPr>
      </p:pic>
      <p:pic>
        <p:nvPicPr>
          <p:cNvPr id="16" name="Picture 1">
            <a:extLst>
              <a:ext uri="{FF2B5EF4-FFF2-40B4-BE49-F238E27FC236}">
                <a16:creationId xmlns:a16="http://schemas.microsoft.com/office/drawing/2014/main" id="{9DE17494-68E1-D286-23C7-477E832231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9484" y="6788527"/>
            <a:ext cx="2232001" cy="1595333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25ACAAD4-1A10-2581-DF61-9A566B54820A}"/>
              </a:ext>
            </a:extLst>
          </p:cNvPr>
          <p:cNvSpPr txBox="1">
            <a:spLocks/>
          </p:cNvSpPr>
          <p:nvPr/>
        </p:nvSpPr>
        <p:spPr>
          <a:xfrm>
            <a:off x="1115468" y="6217221"/>
            <a:ext cx="2574180" cy="6745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2400" b="1" i="1" dirty="0">
                <a:latin typeface="+mn-lt"/>
              </a:rPr>
              <a:t>Stakeholders</a:t>
            </a: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BDC16C9E-4D12-BAA2-1EF3-E5F0691D632F}"/>
              </a:ext>
            </a:extLst>
          </p:cNvPr>
          <p:cNvSpPr txBox="1">
            <a:spLocks/>
          </p:cNvSpPr>
          <p:nvPr/>
        </p:nvSpPr>
        <p:spPr>
          <a:xfrm>
            <a:off x="8393550" y="8716352"/>
            <a:ext cx="2574180" cy="6745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2400" b="1" i="1" dirty="0">
                <a:latin typeface="+mn-lt"/>
              </a:rPr>
              <a:t>Projetos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A48D6DDD-153D-7BEC-F684-07248C4AE040}"/>
              </a:ext>
            </a:extLst>
          </p:cNvPr>
          <p:cNvSpPr txBox="1">
            <a:spLocks/>
          </p:cNvSpPr>
          <p:nvPr/>
        </p:nvSpPr>
        <p:spPr>
          <a:xfrm>
            <a:off x="10242376" y="9812052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442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23" grpId="0"/>
      <p:bldP spid="2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>
          <a:xfrm>
            <a:off x="3617640" y="3559324"/>
            <a:ext cx="9306523" cy="335400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arreiras sem etapas lineares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ão temos controle daquilo que está por vir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star disposto a enxergar outros e novos caminhos para realizar nossas tarefas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locar foco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tividades com seus pontos fortes &gt; produtividade.</a:t>
            </a:r>
          </a:p>
          <a:p>
            <a:pPr marL="321469" indent="-321469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3100" dirty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Picture 2" descr="content">
            <a:extLst>
              <a:ext uri="{FF2B5EF4-FFF2-40B4-BE49-F238E27FC236}">
                <a16:creationId xmlns:a16="http://schemas.microsoft.com/office/drawing/2014/main" id="{71709105-D5C3-0D02-CB01-A1630872E0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1" t="17613" r="29655" b="14952"/>
          <a:stretch/>
        </p:blipFill>
        <p:spPr bwMode="auto">
          <a:xfrm>
            <a:off x="881336" y="2983260"/>
            <a:ext cx="2145354" cy="47999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de cantos arredondados 9"/>
          <p:cNvSpPr/>
          <p:nvPr/>
        </p:nvSpPr>
        <p:spPr>
          <a:xfrm>
            <a:off x="650426" y="1084318"/>
            <a:ext cx="354345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Atual contexto</a:t>
            </a:r>
          </a:p>
        </p:txBody>
      </p:sp>
    </p:spTree>
    <p:extLst>
      <p:ext uri="{BB962C8B-B14F-4D97-AF65-F5344CB8AC3E}">
        <p14:creationId xmlns:p14="http://schemas.microsoft.com/office/powerpoint/2010/main" val="1753005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10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P_IPEOB_CLP_BusinessmanOnCell 03_C">
            <a:extLst>
              <a:ext uri="{FF2B5EF4-FFF2-40B4-BE49-F238E27FC236}">
                <a16:creationId xmlns:a16="http://schemas.microsoft.com/office/drawing/2014/main" id="{CB2B81C3-9F89-632E-5E13-700089649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30132" y="3229934"/>
            <a:ext cx="4446061" cy="4352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8">
            <a:extLst>
              <a:ext uri="{FF2B5EF4-FFF2-40B4-BE49-F238E27FC236}">
                <a16:creationId xmlns:a16="http://schemas.microsoft.com/office/drawing/2014/main" id="{55422D05-3626-35D3-8CAF-2951C870EE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8587" y="3589228"/>
            <a:ext cx="5436899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rojeto pode impactar o </a:t>
            </a:r>
            <a:r>
              <a:rPr 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em diversas áreas. Exemplos:</a:t>
            </a:r>
          </a:p>
          <a:p>
            <a:pPr lvl="1">
              <a:buFont typeface="Arial" pitchFamily="34" charset="0"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feta o seu bolso</a:t>
            </a:r>
          </a:p>
          <a:p>
            <a:pPr lvl="1">
              <a:buFont typeface="Arial" pitchFamily="34" charset="0"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Poder</a:t>
            </a:r>
          </a:p>
          <a:p>
            <a:pPr lvl="1">
              <a:buFont typeface="Arial" pitchFamily="34" charset="0"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Zona de conforto</a:t>
            </a:r>
          </a:p>
          <a:p>
            <a:pPr lvl="1">
              <a:buFont typeface="Arial" pitchFamily="34" charset="0"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do de trabalhar</a:t>
            </a:r>
          </a:p>
        </p:txBody>
      </p:sp>
      <p:sp>
        <p:nvSpPr>
          <p:cNvPr id="6" name="Text Box 9">
            <a:extLst>
              <a:ext uri="{FF2B5EF4-FFF2-40B4-BE49-F238E27FC236}">
                <a16:creationId xmlns:a16="http://schemas.microsoft.com/office/drawing/2014/main" id="{114A63DF-D413-87A3-5AAD-0A517361F4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6591" y="6827114"/>
            <a:ext cx="496132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eações esperadas:</a:t>
            </a:r>
          </a:p>
          <a:p>
            <a:pPr lvl="1">
              <a:buFontTx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Favorável ao projeto</a:t>
            </a:r>
          </a:p>
          <a:p>
            <a:pPr lvl="1">
              <a:buFontTx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Indiferente ao projeto</a:t>
            </a:r>
          </a:p>
          <a:p>
            <a:pPr lvl="1">
              <a:buFontTx/>
              <a:buChar char="•"/>
            </a:pP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Opositor ao projeto</a:t>
            </a:r>
          </a:p>
        </p:txBody>
      </p:sp>
      <p:pic>
        <p:nvPicPr>
          <p:cNvPr id="7" name="Picture 10" descr="PPP_CARRO_CLP_arrow bendytwist O">
            <a:extLst>
              <a:ext uri="{FF2B5EF4-FFF2-40B4-BE49-F238E27FC236}">
                <a16:creationId xmlns:a16="http://schemas.microsoft.com/office/drawing/2014/main" id="{D999BEB4-69A8-9877-D083-773DAB06CE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8900000">
            <a:off x="3752727" y="3270739"/>
            <a:ext cx="952351" cy="1693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13">
            <a:extLst>
              <a:ext uri="{FF2B5EF4-FFF2-40B4-BE49-F238E27FC236}">
                <a16:creationId xmlns:a16="http://schemas.microsoft.com/office/drawing/2014/main" id="{81B18528-C532-01D6-F175-4D4479E296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7226" y="3229934"/>
            <a:ext cx="2750561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rojeto influencia</a:t>
            </a:r>
            <a:b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 </a:t>
            </a:r>
            <a:r>
              <a:rPr 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</a:t>
            </a:r>
          </a:p>
        </p:txBody>
      </p:sp>
      <p:pic>
        <p:nvPicPr>
          <p:cNvPr id="9" name="Picture 14" descr="PPP_CARRO_CLP_arrow06">
            <a:extLst>
              <a:ext uri="{FF2B5EF4-FFF2-40B4-BE49-F238E27FC236}">
                <a16:creationId xmlns:a16="http://schemas.microsoft.com/office/drawing/2014/main" id="{0D6FF756-4F84-106E-2B3D-4406B388F5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8900000">
            <a:off x="6375798" y="3287226"/>
            <a:ext cx="1397050" cy="58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0" rev="9600000"/>
            </a:camera>
            <a:lightRig rig="threePt" dir="t"/>
          </a:scene3d>
        </p:spPr>
      </p:pic>
      <p:pic>
        <p:nvPicPr>
          <p:cNvPr id="10" name="Picture 15" descr="PPP_CARRO_CLP_arrow06">
            <a:extLst>
              <a:ext uri="{FF2B5EF4-FFF2-40B4-BE49-F238E27FC236}">
                <a16:creationId xmlns:a16="http://schemas.microsoft.com/office/drawing/2014/main" id="{63770DAD-82A5-E11A-774A-EFDA06F12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87971" y="4184041"/>
            <a:ext cx="1397050" cy="58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PPP_CARRO_CLP_arrow06">
            <a:extLst>
              <a:ext uri="{FF2B5EF4-FFF2-40B4-BE49-F238E27FC236}">
                <a16:creationId xmlns:a16="http://schemas.microsoft.com/office/drawing/2014/main" id="{28784DDE-64B3-612E-28E2-63FE0E39F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0100000">
            <a:off x="6637276" y="5870745"/>
            <a:ext cx="1848464" cy="58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0" rev="600000"/>
            </a:camera>
            <a:lightRig rig="threePt" dir="t"/>
          </a:scene3d>
        </p:spPr>
      </p:pic>
      <p:sp>
        <p:nvSpPr>
          <p:cNvPr id="12" name="Text Box 18">
            <a:extLst>
              <a:ext uri="{FF2B5EF4-FFF2-40B4-BE49-F238E27FC236}">
                <a16:creationId xmlns:a16="http://schemas.microsoft.com/office/drawing/2014/main" id="{4C0F9108-95A9-ACAD-9740-01DBBFB070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0358" y="5640968"/>
            <a:ext cx="1919243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sz="2800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</a:t>
            </a:r>
            <a:endParaRPr lang="pt-BR" sz="28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 Box 7">
            <a:extLst>
              <a:ext uri="{FF2B5EF4-FFF2-40B4-BE49-F238E27FC236}">
                <a16:creationId xmlns:a16="http://schemas.microsoft.com/office/drawing/2014/main" id="{D556F43D-5041-09A4-0DD9-5CE67654A2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62838" y="2418267"/>
            <a:ext cx="430389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influencia o projeto</a:t>
            </a: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694052B5-0E9D-E17D-D90D-F75BD352FE66}"/>
              </a:ext>
            </a:extLst>
          </p:cNvPr>
          <p:cNvSpPr txBox="1">
            <a:spLocks/>
          </p:cNvSpPr>
          <p:nvPr/>
        </p:nvSpPr>
        <p:spPr>
          <a:xfrm>
            <a:off x="847226" y="824970"/>
            <a:ext cx="7454972" cy="5824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b="1" i="1" dirty="0">
                <a:solidFill>
                  <a:srgbClr val="69ADE7"/>
                </a:solidFill>
              </a:rPr>
              <a:t>Stakeholders</a:t>
            </a:r>
            <a:r>
              <a:rPr lang="pt-BR" sz="4100" b="1" dirty="0">
                <a:solidFill>
                  <a:srgbClr val="69ADE7"/>
                </a:solidFill>
              </a:rPr>
              <a:t>: o quadro geral</a:t>
            </a:r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F614FF9C-9E0C-ABAF-5665-55D7E885417F}"/>
              </a:ext>
            </a:extLst>
          </p:cNvPr>
          <p:cNvSpPr txBox="1">
            <a:spLocks/>
          </p:cNvSpPr>
          <p:nvPr/>
        </p:nvSpPr>
        <p:spPr>
          <a:xfrm>
            <a:off x="9522296" y="9876004"/>
            <a:ext cx="6703219" cy="375945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20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18548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D8804F-5ACD-4759-C067-00F672C3B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FA87B5A7-7822-E4EF-C850-A602731CC71A}"/>
              </a:ext>
            </a:extLst>
          </p:cNvPr>
          <p:cNvSpPr txBox="1">
            <a:spLocks/>
          </p:cNvSpPr>
          <p:nvPr/>
        </p:nvSpPr>
        <p:spPr>
          <a:xfrm>
            <a:off x="884741" y="788502"/>
            <a:ext cx="7454972" cy="582463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b="1" i="1" dirty="0">
                <a:solidFill>
                  <a:srgbClr val="69ADE7"/>
                </a:solidFill>
              </a:rPr>
              <a:t>Stakeholders: </a:t>
            </a:r>
            <a:r>
              <a:rPr lang="pt-BR" sz="4100" b="1" dirty="0">
                <a:solidFill>
                  <a:srgbClr val="69ADE7"/>
                </a:solidFill>
              </a:rPr>
              <a:t>o quadro geral</a:t>
            </a:r>
          </a:p>
        </p:txBody>
      </p:sp>
      <p:grpSp>
        <p:nvGrpSpPr>
          <p:cNvPr id="2" name="Group 82">
            <a:extLst>
              <a:ext uri="{FF2B5EF4-FFF2-40B4-BE49-F238E27FC236}">
                <a16:creationId xmlns:a16="http://schemas.microsoft.com/office/drawing/2014/main" id="{F834C91D-0165-92A5-22AA-F753E4EE526F}"/>
              </a:ext>
            </a:extLst>
          </p:cNvPr>
          <p:cNvGrpSpPr/>
          <p:nvPr/>
        </p:nvGrpSpPr>
        <p:grpSpPr>
          <a:xfrm>
            <a:off x="1025352" y="2340654"/>
            <a:ext cx="10752704" cy="6403246"/>
            <a:chOff x="342677" y="1182891"/>
            <a:chExt cx="8605412" cy="4973203"/>
          </a:xfrm>
        </p:grpSpPr>
        <p:grpSp>
          <p:nvGrpSpPr>
            <p:cNvPr id="3" name="Group 38">
              <a:extLst>
                <a:ext uri="{FF2B5EF4-FFF2-40B4-BE49-F238E27FC236}">
                  <a16:creationId xmlns:a16="http://schemas.microsoft.com/office/drawing/2014/main" id="{02B25595-22FF-AB2E-FA01-57D292D0BBCF}"/>
                </a:ext>
              </a:extLst>
            </p:cNvPr>
            <p:cNvGrpSpPr/>
            <p:nvPr/>
          </p:nvGrpSpPr>
          <p:grpSpPr>
            <a:xfrm>
              <a:off x="1608013" y="1482196"/>
              <a:ext cx="5492756" cy="4673898"/>
              <a:chOff x="-101600" y="1363134"/>
              <a:chExt cx="6197600" cy="5273665"/>
            </a:xfrm>
          </p:grpSpPr>
          <p:graphicFrame>
            <p:nvGraphicFramePr>
              <p:cNvPr id="39" name="Chart 11">
                <a:extLst>
                  <a:ext uri="{FF2B5EF4-FFF2-40B4-BE49-F238E27FC236}">
                    <a16:creationId xmlns:a16="http://schemas.microsoft.com/office/drawing/2014/main" id="{5D3310E6-01A1-3793-8446-C5088C9E2466}"/>
                  </a:ext>
                </a:extLst>
              </p:cNvPr>
              <p:cNvGraphicFramePr/>
              <p:nvPr/>
            </p:nvGraphicFramePr>
            <p:xfrm>
              <a:off x="-101600" y="1363134"/>
              <a:ext cx="6197600" cy="413173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40" name="Oval 12">
                <a:extLst>
                  <a:ext uri="{FF2B5EF4-FFF2-40B4-BE49-F238E27FC236}">
                    <a16:creationId xmlns:a16="http://schemas.microsoft.com/office/drawing/2014/main" id="{6E131AFA-BBC3-0D6D-F667-05FF95ECF165}"/>
                  </a:ext>
                </a:extLst>
              </p:cNvPr>
              <p:cNvSpPr/>
              <p:nvPr/>
            </p:nvSpPr>
            <p:spPr>
              <a:xfrm>
                <a:off x="1457342" y="1887679"/>
                <a:ext cx="3056141" cy="3087176"/>
              </a:xfrm>
              <a:prstGeom prst="ellipse">
                <a:avLst/>
              </a:prstGeom>
              <a:solidFill>
                <a:srgbClr val="FFE8E1"/>
              </a:solidFill>
              <a:ln>
                <a:noFill/>
              </a:ln>
              <a:effectLst>
                <a:innerShdw blurRad="127000">
                  <a:prstClr val="black">
                    <a:alpha val="15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graphicFrame>
            <p:nvGraphicFramePr>
              <p:cNvPr id="41" name="Chart 15">
                <a:extLst>
                  <a:ext uri="{FF2B5EF4-FFF2-40B4-BE49-F238E27FC236}">
                    <a16:creationId xmlns:a16="http://schemas.microsoft.com/office/drawing/2014/main" id="{A0869747-76C5-89F8-342B-9C03DCF44C02}"/>
                  </a:ext>
                </a:extLst>
              </p:cNvPr>
              <p:cNvGraphicFramePr/>
              <p:nvPr/>
            </p:nvGraphicFramePr>
            <p:xfrm>
              <a:off x="863129" y="2005262"/>
              <a:ext cx="4308297" cy="287219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42" name="Oval 16">
                <a:extLst>
                  <a:ext uri="{FF2B5EF4-FFF2-40B4-BE49-F238E27FC236}">
                    <a16:creationId xmlns:a16="http://schemas.microsoft.com/office/drawing/2014/main" id="{8E56E343-570D-C883-4DE0-965DAB4048DB}"/>
                  </a:ext>
                </a:extLst>
              </p:cNvPr>
              <p:cNvSpPr/>
              <p:nvPr/>
            </p:nvSpPr>
            <p:spPr>
              <a:xfrm>
                <a:off x="2131514" y="2550623"/>
                <a:ext cx="1761980" cy="1779873"/>
              </a:xfrm>
              <a:prstGeom prst="ellipse">
                <a:avLst/>
              </a:prstGeom>
              <a:solidFill>
                <a:srgbClr val="FFE8E1"/>
              </a:solidFill>
              <a:ln>
                <a:noFill/>
              </a:ln>
              <a:effectLst>
                <a:innerShdw blurRad="127000">
                  <a:prstClr val="black">
                    <a:alpha val="15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graphicFrame>
            <p:nvGraphicFramePr>
              <p:cNvPr id="43" name="Chart 4">
                <a:extLst>
                  <a:ext uri="{FF2B5EF4-FFF2-40B4-BE49-F238E27FC236}">
                    <a16:creationId xmlns:a16="http://schemas.microsoft.com/office/drawing/2014/main" id="{D92F9C78-FC35-ABCE-0482-17136D52E52C}"/>
                  </a:ext>
                </a:extLst>
              </p:cNvPr>
              <p:cNvGraphicFramePr/>
              <p:nvPr/>
            </p:nvGraphicFramePr>
            <p:xfrm>
              <a:off x="1836177" y="2652058"/>
              <a:ext cx="2365058" cy="157670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E7650439-411B-31AF-4218-090EE65D2CB1}"/>
                  </a:ext>
                </a:extLst>
              </p:cNvPr>
              <p:cNvSpPr/>
              <p:nvPr/>
            </p:nvSpPr>
            <p:spPr>
              <a:xfrm>
                <a:off x="2783337" y="3204117"/>
                <a:ext cx="466230" cy="470964"/>
              </a:xfrm>
              <a:prstGeom prst="ellipse">
                <a:avLst/>
              </a:prstGeom>
              <a:solidFill>
                <a:srgbClr val="FFE8E1"/>
              </a:solidFill>
              <a:ln>
                <a:noFill/>
              </a:ln>
              <a:effectLst>
                <a:innerShdw blurRad="127000">
                  <a:prstClr val="black">
                    <a:alpha val="15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5" name="Oval 19">
                <a:extLst>
                  <a:ext uri="{FF2B5EF4-FFF2-40B4-BE49-F238E27FC236}">
                    <a16:creationId xmlns:a16="http://schemas.microsoft.com/office/drawing/2014/main" id="{605BAA50-4BE7-AFBA-1A1C-DEA5E151C43F}"/>
                  </a:ext>
                </a:extLst>
              </p:cNvPr>
              <p:cNvSpPr/>
              <p:nvPr/>
            </p:nvSpPr>
            <p:spPr>
              <a:xfrm>
                <a:off x="1599671" y="6113696"/>
                <a:ext cx="2849231" cy="523103"/>
              </a:xfrm>
              <a:prstGeom prst="ellipse">
                <a:avLst/>
              </a:prstGeom>
              <a:gradFill flip="none" rotWithShape="1">
                <a:gsLst>
                  <a:gs pos="72000">
                    <a:schemeClr val="tx1">
                      <a:lumMod val="95000"/>
                      <a:lumOff val="5000"/>
                      <a:alpha val="0"/>
                    </a:schemeClr>
                  </a:gs>
                  <a:gs pos="0">
                    <a:schemeClr val="tx1">
                      <a:lumMod val="75000"/>
                      <a:lumOff val="25000"/>
                      <a:alpha val="21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" name="Group 40">
              <a:extLst>
                <a:ext uri="{FF2B5EF4-FFF2-40B4-BE49-F238E27FC236}">
                  <a16:creationId xmlns:a16="http://schemas.microsoft.com/office/drawing/2014/main" id="{377E15C8-EFEA-0B98-B491-D97B6BAFED3D}"/>
                </a:ext>
              </a:extLst>
            </p:cNvPr>
            <p:cNvGrpSpPr/>
            <p:nvPr/>
          </p:nvGrpSpPr>
          <p:grpSpPr>
            <a:xfrm>
              <a:off x="5656403" y="1182891"/>
              <a:ext cx="1150338" cy="1174803"/>
              <a:chOff x="4922087" y="1103242"/>
              <a:chExt cx="1150338" cy="1174803"/>
            </a:xfrm>
          </p:grpSpPr>
          <p:cxnSp>
            <p:nvCxnSpPr>
              <p:cNvPr id="32" name="Straight Connector 27">
                <a:extLst>
                  <a:ext uri="{FF2B5EF4-FFF2-40B4-BE49-F238E27FC236}">
                    <a16:creationId xmlns:a16="http://schemas.microsoft.com/office/drawing/2014/main" id="{7C991E4A-A09C-82E0-F3A0-7601E7BBE7E5}"/>
                  </a:ext>
                </a:extLst>
              </p:cNvPr>
              <p:cNvCxnSpPr>
                <a:endCxn id="33" idx="3"/>
              </p:cNvCxnSpPr>
              <p:nvPr/>
            </p:nvCxnSpPr>
            <p:spPr>
              <a:xfrm flipV="1">
                <a:off x="4922087" y="1848906"/>
                <a:ext cx="404674" cy="429139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28">
                <a:extLst>
                  <a:ext uri="{FF2B5EF4-FFF2-40B4-BE49-F238E27FC236}">
                    <a16:creationId xmlns:a16="http://schemas.microsoft.com/office/drawing/2014/main" id="{9A7D5ED5-F868-3F13-1051-7DD1B99EAFC1}"/>
                  </a:ext>
                </a:extLst>
              </p:cNvPr>
              <p:cNvSpPr/>
              <p:nvPr/>
            </p:nvSpPr>
            <p:spPr>
              <a:xfrm>
                <a:off x="5198825" y="1103242"/>
                <a:ext cx="873600" cy="873600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Rectangle 34">
              <a:extLst>
                <a:ext uri="{FF2B5EF4-FFF2-40B4-BE49-F238E27FC236}">
                  <a16:creationId xmlns:a16="http://schemas.microsoft.com/office/drawing/2014/main" id="{8C836F57-3523-9D20-11D5-09BCE5C2FB7A}"/>
                </a:ext>
              </a:extLst>
            </p:cNvPr>
            <p:cNvSpPr/>
            <p:nvPr/>
          </p:nvSpPr>
          <p:spPr>
            <a:xfrm flipH="1">
              <a:off x="6228586" y="1898022"/>
              <a:ext cx="2719503" cy="38246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3200" b="1" i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Georgia" charset="0"/>
                  <a:cs typeface="Georgia" charset="0"/>
                </a:rPr>
                <a:t>Comprometimento</a:t>
              </a:r>
              <a:endParaRPr lang="en-US" sz="3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 charset="0"/>
                <a:cs typeface="Georgia" charset="0"/>
              </a:endParaRPr>
            </a:p>
          </p:txBody>
        </p:sp>
        <p:grpSp>
          <p:nvGrpSpPr>
            <p:cNvPr id="11" name="Group 52">
              <a:extLst>
                <a:ext uri="{FF2B5EF4-FFF2-40B4-BE49-F238E27FC236}">
                  <a16:creationId xmlns:a16="http://schemas.microsoft.com/office/drawing/2014/main" id="{82302869-D1BC-3710-C1EA-0FE624780799}"/>
                </a:ext>
              </a:extLst>
            </p:cNvPr>
            <p:cNvGrpSpPr/>
            <p:nvPr/>
          </p:nvGrpSpPr>
          <p:grpSpPr>
            <a:xfrm>
              <a:off x="4682235" y="3648529"/>
              <a:ext cx="1873851" cy="1809534"/>
              <a:chOff x="3587932" y="3668048"/>
              <a:chExt cx="1873851" cy="1809534"/>
            </a:xfrm>
          </p:grpSpPr>
          <p:cxnSp>
            <p:nvCxnSpPr>
              <p:cNvPr id="29" name="Straight Connector 44">
                <a:extLst>
                  <a:ext uri="{FF2B5EF4-FFF2-40B4-BE49-F238E27FC236}">
                    <a16:creationId xmlns:a16="http://schemas.microsoft.com/office/drawing/2014/main" id="{2CB5F2D6-A84B-4D8F-DA59-9AB4CEF7AAB6}"/>
                  </a:ext>
                </a:extLst>
              </p:cNvPr>
              <p:cNvCxnSpPr>
                <a:endCxn id="30" idx="3"/>
              </p:cNvCxnSpPr>
              <p:nvPr/>
            </p:nvCxnSpPr>
            <p:spPr>
              <a:xfrm>
                <a:off x="3587932" y="3668048"/>
                <a:ext cx="1128187" cy="106387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Oval 45">
                <a:extLst>
                  <a:ext uri="{FF2B5EF4-FFF2-40B4-BE49-F238E27FC236}">
                    <a16:creationId xmlns:a16="http://schemas.microsoft.com/office/drawing/2014/main" id="{DEF87BF8-A509-6E94-5645-4C5018CCF391}"/>
                  </a:ext>
                </a:extLst>
              </p:cNvPr>
              <p:cNvSpPr/>
              <p:nvPr/>
            </p:nvSpPr>
            <p:spPr>
              <a:xfrm rot="5400000">
                <a:off x="4588183" y="4603982"/>
                <a:ext cx="873600" cy="873600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" name="Rectangle 64">
              <a:extLst>
                <a:ext uri="{FF2B5EF4-FFF2-40B4-BE49-F238E27FC236}">
                  <a16:creationId xmlns:a16="http://schemas.microsoft.com/office/drawing/2014/main" id="{8A9DF3DB-297E-37A6-8421-8C26A4EF9C53}"/>
                </a:ext>
              </a:extLst>
            </p:cNvPr>
            <p:cNvSpPr/>
            <p:nvPr/>
          </p:nvSpPr>
          <p:spPr>
            <a:xfrm flipH="1">
              <a:off x="6061078" y="4794543"/>
              <a:ext cx="2695310" cy="38246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32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Georgia" charset="0"/>
                  <a:cs typeface="Georgia" charset="0"/>
                </a:rPr>
                <a:t>Gerente de </a:t>
              </a:r>
              <a:r>
                <a:rPr lang="en-US" sz="3200" b="1" i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Georgia" charset="0"/>
                  <a:cs typeface="Georgia" charset="0"/>
                </a:rPr>
                <a:t>Projetos</a:t>
              </a:r>
              <a:endParaRPr lang="en-US" sz="3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 charset="0"/>
                <a:cs typeface="Georgia" charset="0"/>
              </a:endParaRPr>
            </a:p>
          </p:txBody>
        </p:sp>
        <p:grpSp>
          <p:nvGrpSpPr>
            <p:cNvPr id="14" name="Group 76">
              <a:extLst>
                <a:ext uri="{FF2B5EF4-FFF2-40B4-BE49-F238E27FC236}">
                  <a16:creationId xmlns:a16="http://schemas.microsoft.com/office/drawing/2014/main" id="{735B1945-ADD4-3934-2FCA-88165BDE486D}"/>
                </a:ext>
              </a:extLst>
            </p:cNvPr>
            <p:cNvGrpSpPr/>
            <p:nvPr/>
          </p:nvGrpSpPr>
          <p:grpSpPr>
            <a:xfrm>
              <a:off x="1787638" y="3094409"/>
              <a:ext cx="1382966" cy="873600"/>
              <a:chOff x="-204480" y="1390788"/>
              <a:chExt cx="1382966" cy="873600"/>
            </a:xfrm>
          </p:grpSpPr>
          <p:cxnSp>
            <p:nvCxnSpPr>
              <p:cNvPr id="20" name="Straight Connector 68">
                <a:extLst>
                  <a:ext uri="{FF2B5EF4-FFF2-40B4-BE49-F238E27FC236}">
                    <a16:creationId xmlns:a16="http://schemas.microsoft.com/office/drawing/2014/main" id="{63598F8A-CE40-ED24-235E-F027D48A5F04}"/>
                  </a:ext>
                </a:extLst>
              </p:cNvPr>
              <p:cNvCxnSpPr>
                <a:endCxn id="21" idx="3"/>
              </p:cNvCxnSpPr>
              <p:nvPr/>
            </p:nvCxnSpPr>
            <p:spPr>
              <a:xfrm rot="13500000" flipV="1">
                <a:off x="761580" y="1604369"/>
                <a:ext cx="404674" cy="429139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Oval 69">
                <a:extLst>
                  <a:ext uri="{FF2B5EF4-FFF2-40B4-BE49-F238E27FC236}">
                    <a16:creationId xmlns:a16="http://schemas.microsoft.com/office/drawing/2014/main" id="{D6D3FF80-47EF-9489-850D-F9BEBE1CF645}"/>
                  </a:ext>
                </a:extLst>
              </p:cNvPr>
              <p:cNvSpPr/>
              <p:nvPr/>
            </p:nvSpPr>
            <p:spPr>
              <a:xfrm rot="13500000">
                <a:off x="-204480" y="1390788"/>
                <a:ext cx="873600" cy="873600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Rectangle 77">
              <a:extLst>
                <a:ext uri="{FF2B5EF4-FFF2-40B4-BE49-F238E27FC236}">
                  <a16:creationId xmlns:a16="http://schemas.microsoft.com/office/drawing/2014/main" id="{A774E81D-EE88-E11E-F17D-829CFD6E5830}"/>
                </a:ext>
              </a:extLst>
            </p:cNvPr>
            <p:cNvSpPr/>
            <p:nvPr/>
          </p:nvSpPr>
          <p:spPr>
            <a:xfrm flipH="1">
              <a:off x="342677" y="3429000"/>
              <a:ext cx="1901729" cy="38246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US" sz="3200" b="1" i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Georgia" charset="0"/>
                  <a:cs typeface="Georgia" charset="0"/>
                </a:rPr>
                <a:t>Engajamento</a:t>
              </a:r>
              <a:r>
                <a:rPr lang="en-US" sz="24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eorgia" charset="0"/>
                  <a:ea typeface="Georgia" charset="0"/>
                  <a:cs typeface="Georgia" charset="0"/>
                </a:rPr>
                <a:t> </a:t>
              </a:r>
            </a:p>
          </p:txBody>
        </p:sp>
      </p:grpSp>
      <p:grpSp>
        <p:nvGrpSpPr>
          <p:cNvPr id="46" name="Group 87">
            <a:extLst>
              <a:ext uri="{FF2B5EF4-FFF2-40B4-BE49-F238E27FC236}">
                <a16:creationId xmlns:a16="http://schemas.microsoft.com/office/drawing/2014/main" id="{C450D436-E462-F317-0685-1A7DA6DAEB41}"/>
              </a:ext>
            </a:extLst>
          </p:cNvPr>
          <p:cNvGrpSpPr/>
          <p:nvPr/>
        </p:nvGrpSpPr>
        <p:grpSpPr>
          <a:xfrm flipH="1">
            <a:off x="6890374" y="7137105"/>
            <a:ext cx="1367677" cy="2572543"/>
            <a:chOff x="2334646" y="3487637"/>
            <a:chExt cx="1367677" cy="2572543"/>
          </a:xfrm>
        </p:grpSpPr>
        <p:pic>
          <p:nvPicPr>
            <p:cNvPr id="47" name="Picture 85">
              <a:extLst>
                <a:ext uri="{FF2B5EF4-FFF2-40B4-BE49-F238E27FC236}">
                  <a16:creationId xmlns:a16="http://schemas.microsoft.com/office/drawing/2014/main" id="{4C39DAD1-E97B-965B-DA68-1C0CB2E773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4938" y="3487637"/>
              <a:ext cx="830977" cy="2518579"/>
            </a:xfrm>
            <a:prstGeom prst="rect">
              <a:avLst/>
            </a:prstGeom>
          </p:spPr>
        </p:pic>
        <p:sp>
          <p:nvSpPr>
            <p:cNvPr id="48" name="Oval 86">
              <a:extLst>
                <a:ext uri="{FF2B5EF4-FFF2-40B4-BE49-F238E27FC236}">
                  <a16:creationId xmlns:a16="http://schemas.microsoft.com/office/drawing/2014/main" id="{ACBF58AB-108C-788C-BF06-B0E47AD5B61A}"/>
                </a:ext>
              </a:extLst>
            </p:cNvPr>
            <p:cNvSpPr/>
            <p:nvPr/>
          </p:nvSpPr>
          <p:spPr>
            <a:xfrm>
              <a:off x="2334646" y="5815995"/>
              <a:ext cx="1367677" cy="244185"/>
            </a:xfrm>
            <a:prstGeom prst="ellipse">
              <a:avLst/>
            </a:prstGeom>
            <a:gradFill flip="none" rotWithShape="1">
              <a:gsLst>
                <a:gs pos="72000">
                  <a:schemeClr val="tx1">
                    <a:lumMod val="95000"/>
                    <a:lumOff val="5000"/>
                    <a:alpha val="0"/>
                  </a:schemeClr>
                </a:gs>
                <a:gs pos="0">
                  <a:schemeClr val="tx1">
                    <a:lumMod val="75000"/>
                    <a:lumOff val="25000"/>
                    <a:alpha val="21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 Box 2">
            <a:extLst>
              <a:ext uri="{FF2B5EF4-FFF2-40B4-BE49-F238E27FC236}">
                <a16:creationId xmlns:a16="http://schemas.microsoft.com/office/drawing/2014/main" id="{40A328D4-9550-D176-35F4-3727796FFF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96581" y="1868922"/>
            <a:ext cx="10899734" cy="57292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4946" tIns="47473" rIns="94946" bIns="47473">
            <a:spAutoFit/>
          </a:bodyPr>
          <a:lstStyle>
            <a:lvl1pPr marL="249238" indent="-2492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47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4462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176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ctr">
              <a:spcBef>
                <a:spcPts val="2492"/>
              </a:spcBef>
              <a:buClr>
                <a:srgbClr val="69ADE7"/>
              </a:buClr>
              <a:defRPr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participação efetiva dos </a:t>
            </a:r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s </a:t>
            </a: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fator crítico</a:t>
            </a:r>
          </a:p>
        </p:txBody>
      </p:sp>
      <p:sp>
        <p:nvSpPr>
          <p:cNvPr id="50" name="TextBox 17">
            <a:extLst>
              <a:ext uri="{FF2B5EF4-FFF2-40B4-BE49-F238E27FC236}">
                <a16:creationId xmlns:a16="http://schemas.microsoft.com/office/drawing/2014/main" id="{2C04B492-3604-5476-D347-66B28B73FA65}"/>
              </a:ext>
            </a:extLst>
          </p:cNvPr>
          <p:cNvSpPr txBox="1"/>
          <p:nvPr/>
        </p:nvSpPr>
        <p:spPr>
          <a:xfrm>
            <a:off x="2659453" y="7629320"/>
            <a:ext cx="49147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492"/>
              </a:spcBef>
              <a:buClr>
                <a:srgbClr val="69ADE7"/>
              </a:buClr>
              <a:defRPr/>
            </a:pPr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manda crescente pelo gerenciamento dos aspectos comportamentais dos </a:t>
            </a:r>
            <a:r>
              <a:rPr lang="pt-BR" sz="24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s. </a:t>
            </a:r>
          </a:p>
          <a:p>
            <a:pPr marL="385763" indent="-385763">
              <a:buClr>
                <a:srgbClr val="69ADE7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TextBox 3">
            <a:extLst>
              <a:ext uri="{FF2B5EF4-FFF2-40B4-BE49-F238E27FC236}">
                <a16:creationId xmlns:a16="http://schemas.microsoft.com/office/drawing/2014/main" id="{3D91E143-A2B5-1E87-83CF-ED6355560D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7380" y="7669004"/>
            <a:ext cx="4771546" cy="19389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spcBef>
                <a:spcPts val="2492"/>
              </a:spcBef>
              <a:buClr>
                <a:srgbClr val="69ADE7"/>
              </a:buClr>
              <a:defRPr sz="240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charset="0"/>
                <a:cs typeface="MS PGothic" charset="0"/>
              </a:defRPr>
            </a:lvl9pPr>
          </a:lstStyle>
          <a:p>
            <a:r>
              <a:rPr lang="pt-BR" dirty="0"/>
              <a:t>O Gerente de projeto passou, com essa iniciativa, a ser parte mais ativa nessa questão, ampliando suas responsabilidades e a demanda por novas competências.</a:t>
            </a: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6A2724EB-80AF-EBCF-AE8E-39ED836482FC}"/>
              </a:ext>
            </a:extLst>
          </p:cNvPr>
          <p:cNvSpPr txBox="1">
            <a:spLocks/>
          </p:cNvSpPr>
          <p:nvPr/>
        </p:nvSpPr>
        <p:spPr>
          <a:xfrm>
            <a:off x="10242376" y="9812052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274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7B90CF-576D-16E4-5C28-67ED52B0BE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7DD33929-0963-0779-A8C7-45A78A6664B5}"/>
              </a:ext>
            </a:extLst>
          </p:cNvPr>
          <p:cNvSpPr txBox="1">
            <a:spLocks/>
          </p:cNvSpPr>
          <p:nvPr/>
        </p:nvSpPr>
        <p:spPr>
          <a:xfrm>
            <a:off x="520857" y="823020"/>
            <a:ext cx="9574387" cy="53765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pt-BR" sz="4000" b="1" dirty="0">
                <a:solidFill>
                  <a:srgbClr val="69ADE7"/>
                </a:solidFill>
              </a:rPr>
              <a:t>O que é gerenciamento de </a:t>
            </a:r>
            <a:r>
              <a:rPr lang="pt-BR" sz="4000" b="1" i="1" dirty="0">
                <a:solidFill>
                  <a:srgbClr val="69ADE7"/>
                </a:solidFill>
              </a:rPr>
              <a:t>Stakeholders?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BE08CC4-FA8A-EA48-81A6-1376D24AA062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E61D9D73-6B37-2E88-0088-EABE8FAF96F6}"/>
              </a:ext>
            </a:extLst>
          </p:cNvPr>
          <p:cNvSpPr/>
          <p:nvPr/>
        </p:nvSpPr>
        <p:spPr>
          <a:xfrm>
            <a:off x="539518" y="8929154"/>
            <a:ext cx="11664000" cy="54263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sz="2800" dirty="0">
                <a:solidFill>
                  <a:schemeClr val="tx1"/>
                </a:solidFill>
                <a:latin typeface="+mj-lt"/>
              </a:rPr>
              <a:t>Comunicação contínua com os Stakeholders para entender suas necessidades e expectativa. Gestão de  conflitos de interesse. Incentivo ao engajamento apropriado de Stakeholders.</a:t>
            </a:r>
          </a:p>
        </p:txBody>
      </p:sp>
      <p:sp>
        <p:nvSpPr>
          <p:cNvPr id="11" name="Arrow: Chevron 37">
            <a:extLst>
              <a:ext uri="{FF2B5EF4-FFF2-40B4-BE49-F238E27FC236}">
                <a16:creationId xmlns:a16="http://schemas.microsoft.com/office/drawing/2014/main" id="{826DA4BE-E8D6-B6AD-AA69-B9418A639166}"/>
              </a:ext>
            </a:extLst>
          </p:cNvPr>
          <p:cNvSpPr/>
          <p:nvPr/>
        </p:nvSpPr>
        <p:spPr>
          <a:xfrm>
            <a:off x="413744" y="5987876"/>
            <a:ext cx="4140000" cy="2395984"/>
          </a:xfrm>
          <a:prstGeom prst="chevron">
            <a:avLst>
              <a:gd name="adj" fmla="val 27976"/>
            </a:avLst>
          </a:prstGeom>
          <a:solidFill>
            <a:srgbClr val="FFC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D" sz="2400" dirty="0">
                <a:solidFill>
                  <a:schemeClr val="tx2"/>
                </a:solidFill>
              </a:rPr>
              <a:t>01</a:t>
            </a:r>
          </a:p>
          <a:p>
            <a:r>
              <a:rPr lang="pt-BR" sz="2000" b="1" dirty="0">
                <a:solidFill>
                  <a:schemeClr val="tx2"/>
                </a:solidFill>
              </a:rPr>
              <a:t>Identificar</a:t>
            </a:r>
            <a:r>
              <a:rPr lang="pt-BR" sz="2000" dirty="0">
                <a:solidFill>
                  <a:schemeClr val="tx2"/>
                </a:solidFill>
              </a:rPr>
              <a:t> as pessoas, grupos ou organizações que podem impactar ou ser impactadas pelo projeto</a:t>
            </a:r>
            <a:endParaRPr lang="en-ID" sz="2000" dirty="0">
              <a:solidFill>
                <a:schemeClr val="tx2"/>
              </a:solidFill>
            </a:endParaRPr>
          </a:p>
        </p:txBody>
      </p:sp>
      <p:sp>
        <p:nvSpPr>
          <p:cNvPr id="12" name="Arrow: Chevron 38">
            <a:extLst>
              <a:ext uri="{FF2B5EF4-FFF2-40B4-BE49-F238E27FC236}">
                <a16:creationId xmlns:a16="http://schemas.microsoft.com/office/drawing/2014/main" id="{294AE062-A9A6-30B2-F2A1-5DBD21D319CD}"/>
              </a:ext>
            </a:extLst>
          </p:cNvPr>
          <p:cNvSpPr/>
          <p:nvPr/>
        </p:nvSpPr>
        <p:spPr>
          <a:xfrm>
            <a:off x="4121696" y="5987876"/>
            <a:ext cx="4212000" cy="2395984"/>
          </a:xfrm>
          <a:prstGeom prst="chevron">
            <a:avLst>
              <a:gd name="adj" fmla="val 27976"/>
            </a:avLst>
          </a:prstGeom>
          <a:solidFill>
            <a:srgbClr val="807B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D" sz="2400" dirty="0">
                <a:solidFill>
                  <a:schemeClr val="bg1"/>
                </a:solidFill>
              </a:rPr>
              <a:t>02</a:t>
            </a:r>
          </a:p>
          <a:p>
            <a:pPr algn="ctr"/>
            <a:endParaRPr lang="en-ID" sz="2400" dirty="0">
              <a:solidFill>
                <a:schemeClr val="bg1"/>
              </a:solidFill>
            </a:endParaRPr>
          </a:p>
          <a:p>
            <a:r>
              <a:rPr lang="pt-BR" sz="2000" b="1" dirty="0">
                <a:solidFill>
                  <a:schemeClr val="bg1"/>
                </a:solidFill>
              </a:rPr>
              <a:t> Analisar</a:t>
            </a:r>
            <a:r>
              <a:rPr lang="pt-BR" sz="2000" dirty="0">
                <a:solidFill>
                  <a:schemeClr val="bg1"/>
                </a:solidFill>
              </a:rPr>
              <a:t> as expectativas  dos Stakeholders e seu impacto no projeto</a:t>
            </a:r>
            <a:endParaRPr lang="en-ID" sz="2000" dirty="0">
              <a:solidFill>
                <a:schemeClr val="bg1"/>
              </a:solidFill>
            </a:endParaRPr>
          </a:p>
        </p:txBody>
      </p:sp>
      <p:sp>
        <p:nvSpPr>
          <p:cNvPr id="13" name="Arrow: Chevron 39">
            <a:extLst>
              <a:ext uri="{FF2B5EF4-FFF2-40B4-BE49-F238E27FC236}">
                <a16:creationId xmlns:a16="http://schemas.microsoft.com/office/drawing/2014/main" id="{80D6B6A0-1120-74EF-9D18-4AE054A14E3C}"/>
              </a:ext>
            </a:extLst>
          </p:cNvPr>
          <p:cNvSpPr/>
          <p:nvPr/>
        </p:nvSpPr>
        <p:spPr>
          <a:xfrm>
            <a:off x="7866112" y="5987876"/>
            <a:ext cx="4212000" cy="2395984"/>
          </a:xfrm>
          <a:prstGeom prst="chevron">
            <a:avLst>
              <a:gd name="adj" fmla="val 27976"/>
            </a:avLst>
          </a:prstGeom>
          <a:solidFill>
            <a:srgbClr val="FFC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D" sz="2400" dirty="0">
                <a:solidFill>
                  <a:schemeClr val="tx2"/>
                </a:solidFill>
              </a:rPr>
              <a:t>03</a:t>
            </a:r>
          </a:p>
          <a:p>
            <a:r>
              <a:rPr lang="pt-BR" sz="2000" b="1" dirty="0">
                <a:solidFill>
                  <a:schemeClr val="tx2"/>
                </a:solidFill>
              </a:rPr>
              <a:t>Desenvolver estratégias</a:t>
            </a:r>
            <a:r>
              <a:rPr lang="pt-BR" sz="2000" dirty="0">
                <a:solidFill>
                  <a:schemeClr val="tx2"/>
                </a:solidFill>
              </a:rPr>
              <a:t> apropriadas de gerenciamento para obter engajamento efetivo dos Stakeholders nas decisões do projeto e sua execução</a:t>
            </a:r>
            <a:endParaRPr lang="en-ID" sz="2000" dirty="0">
              <a:solidFill>
                <a:schemeClr val="tx2"/>
              </a:solidFill>
            </a:endParaRPr>
          </a:p>
        </p:txBody>
      </p:sp>
      <p:pic>
        <p:nvPicPr>
          <p:cNvPr id="16" name="Picture 1">
            <a:extLst>
              <a:ext uri="{FF2B5EF4-FFF2-40B4-BE49-F238E27FC236}">
                <a16:creationId xmlns:a16="http://schemas.microsoft.com/office/drawing/2014/main" id="{604BEE6C-B0D9-74B6-6F16-C7A517BF2F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946" y="1710249"/>
            <a:ext cx="5201750" cy="3025124"/>
          </a:xfrm>
          <a:prstGeom prst="rect">
            <a:avLst/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C3937474-97F6-CEDB-0B0B-49D26BD5B9AF}"/>
              </a:ext>
            </a:extLst>
          </p:cNvPr>
          <p:cNvSpPr txBox="1"/>
          <p:nvPr/>
        </p:nvSpPr>
        <p:spPr>
          <a:xfrm>
            <a:off x="857246" y="5247141"/>
            <a:ext cx="89016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just">
              <a:buClr>
                <a:srgbClr val="69ADE7"/>
              </a:buClr>
              <a:buNone/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É o conjunto de processos necessários para:</a:t>
            </a:r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6FF11D2D-9088-2412-82D8-0DCCA362F8C2}"/>
              </a:ext>
            </a:extLst>
          </p:cNvPr>
          <p:cNvSpPr txBox="1">
            <a:spLocks/>
          </p:cNvSpPr>
          <p:nvPr/>
        </p:nvSpPr>
        <p:spPr>
          <a:xfrm>
            <a:off x="10242376" y="9812052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324184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2FA3B300-97EE-EC0D-493C-8B5539CBA148}"/>
              </a:ext>
            </a:extLst>
          </p:cNvPr>
          <p:cNvSpPr txBox="1">
            <a:spLocks/>
          </p:cNvSpPr>
          <p:nvPr/>
        </p:nvSpPr>
        <p:spPr>
          <a:xfrm>
            <a:off x="242238" y="895028"/>
            <a:ext cx="9574387" cy="53765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700" b="1" dirty="0">
                <a:solidFill>
                  <a:srgbClr val="69ADE7"/>
                </a:solidFill>
              </a:rPr>
              <a:t>O que é gerenciamento de </a:t>
            </a:r>
            <a:r>
              <a:rPr lang="pt-BR" sz="3700" b="1" i="1" dirty="0">
                <a:solidFill>
                  <a:srgbClr val="69ADE7"/>
                </a:solidFill>
              </a:rPr>
              <a:t>Stakeholders</a:t>
            </a:r>
            <a:r>
              <a:rPr lang="pt-BR" sz="4100" b="1" dirty="0">
                <a:solidFill>
                  <a:srgbClr val="69ADE7"/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A24ACD1-39CD-CEFF-2FB3-2C2E14E7B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352" y="2031134"/>
            <a:ext cx="11871004" cy="6224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5">
            <a:extLst>
              <a:ext uri="{FF2B5EF4-FFF2-40B4-BE49-F238E27FC236}">
                <a16:creationId xmlns:a16="http://schemas.microsoft.com/office/drawing/2014/main" id="{2861B496-129B-716C-9A0D-2C8CE7ED7048}"/>
              </a:ext>
            </a:extLst>
          </p:cNvPr>
          <p:cNvSpPr txBox="1">
            <a:spLocks/>
          </p:cNvSpPr>
          <p:nvPr/>
        </p:nvSpPr>
        <p:spPr>
          <a:xfrm>
            <a:off x="9810328" y="9319964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3CB3CCC2-E50B-1CAE-8566-647114D278D6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234364559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42" name="Group 30"/>
          <p:cNvGrpSpPr>
            <a:grpSpLocks/>
          </p:cNvGrpSpPr>
          <p:nvPr/>
        </p:nvGrpSpPr>
        <p:grpSpPr bwMode="auto">
          <a:xfrm>
            <a:off x="665312" y="2586038"/>
            <a:ext cx="9749466" cy="5925741"/>
            <a:chOff x="-3452" y="723900"/>
            <a:chExt cx="9290167" cy="5388990"/>
          </a:xfrm>
        </p:grpSpPr>
        <p:pic>
          <p:nvPicPr>
            <p:cNvPr id="6144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723900"/>
              <a:ext cx="9144000" cy="5388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445" name="TextBox 2"/>
            <p:cNvSpPr txBox="1">
              <a:spLocks noChangeArrowheads="1"/>
            </p:cNvSpPr>
            <p:nvPr/>
          </p:nvSpPr>
          <p:spPr bwMode="auto">
            <a:xfrm>
              <a:off x="122408" y="3847972"/>
              <a:ext cx="1014556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Ansiedade</a:t>
              </a:r>
            </a:p>
          </p:txBody>
        </p:sp>
        <p:sp>
          <p:nvSpPr>
            <p:cNvPr id="61446" name="TextBox 4"/>
            <p:cNvSpPr txBox="1">
              <a:spLocks noChangeArrowheads="1"/>
            </p:cNvSpPr>
            <p:nvPr/>
          </p:nvSpPr>
          <p:spPr bwMode="auto">
            <a:xfrm>
              <a:off x="1203918" y="3894298"/>
              <a:ext cx="979668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Felicidade</a:t>
              </a:r>
            </a:p>
          </p:txBody>
        </p:sp>
        <p:sp>
          <p:nvSpPr>
            <p:cNvPr id="61447" name="TextBox 5"/>
            <p:cNvSpPr txBox="1">
              <a:spLocks noChangeArrowheads="1"/>
            </p:cNvSpPr>
            <p:nvPr/>
          </p:nvSpPr>
          <p:spPr bwMode="auto">
            <a:xfrm>
              <a:off x="2105618" y="4605498"/>
              <a:ext cx="647959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Medo</a:t>
              </a:r>
            </a:p>
          </p:txBody>
        </p:sp>
        <p:sp>
          <p:nvSpPr>
            <p:cNvPr id="61448" name="TextBox 6"/>
            <p:cNvSpPr txBox="1">
              <a:spLocks noChangeArrowheads="1"/>
            </p:cNvSpPr>
            <p:nvPr/>
          </p:nvSpPr>
          <p:spPr bwMode="auto">
            <a:xfrm>
              <a:off x="2716453" y="5494498"/>
              <a:ext cx="813355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Ameaça</a:t>
              </a:r>
            </a:p>
          </p:txBody>
        </p:sp>
        <p:sp>
          <p:nvSpPr>
            <p:cNvPr id="61449" name="TextBox 7"/>
            <p:cNvSpPr txBox="1">
              <a:spLocks noChangeArrowheads="1"/>
            </p:cNvSpPr>
            <p:nvPr/>
          </p:nvSpPr>
          <p:spPr bwMode="auto">
            <a:xfrm>
              <a:off x="5090118" y="1529144"/>
              <a:ext cx="1463082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sz="1575" b="1">
                  <a:latin typeface="Calibri"/>
                </a:rPr>
                <a:t>Desilusão</a:t>
              </a:r>
            </a:p>
          </p:txBody>
        </p:sp>
        <p:sp>
          <p:nvSpPr>
            <p:cNvPr id="61450" name="TextBox 8"/>
            <p:cNvSpPr txBox="1">
              <a:spLocks noChangeArrowheads="1"/>
            </p:cNvSpPr>
            <p:nvPr/>
          </p:nvSpPr>
          <p:spPr bwMode="auto">
            <a:xfrm>
              <a:off x="3731218" y="733221"/>
              <a:ext cx="860463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Negação</a:t>
              </a:r>
            </a:p>
          </p:txBody>
        </p:sp>
        <p:sp>
          <p:nvSpPr>
            <p:cNvPr id="61451" name="TextBox 9"/>
            <p:cNvSpPr txBox="1">
              <a:spLocks noChangeArrowheads="1"/>
            </p:cNvSpPr>
            <p:nvPr/>
          </p:nvSpPr>
          <p:spPr bwMode="auto">
            <a:xfrm>
              <a:off x="3660421" y="5557998"/>
              <a:ext cx="628102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Culpa</a:t>
              </a:r>
            </a:p>
          </p:txBody>
        </p:sp>
        <p:sp>
          <p:nvSpPr>
            <p:cNvPr id="61452" name="TextBox 10"/>
            <p:cNvSpPr txBox="1">
              <a:spLocks noChangeArrowheads="1"/>
            </p:cNvSpPr>
            <p:nvPr/>
          </p:nvSpPr>
          <p:spPr bwMode="auto">
            <a:xfrm>
              <a:off x="4529731" y="5545298"/>
              <a:ext cx="1010890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 dirty="0">
                  <a:latin typeface="Calibri"/>
                </a:rPr>
                <a:t>Depressão</a:t>
              </a:r>
            </a:p>
          </p:txBody>
        </p:sp>
        <p:sp>
          <p:nvSpPr>
            <p:cNvPr id="61453" name="TextBox 11"/>
            <p:cNvSpPr txBox="1">
              <a:spLocks noChangeArrowheads="1"/>
            </p:cNvSpPr>
            <p:nvPr/>
          </p:nvSpPr>
          <p:spPr bwMode="auto">
            <a:xfrm>
              <a:off x="5880339" y="5587802"/>
              <a:ext cx="1082681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sz="1575" b="1">
                  <a:latin typeface="Calibri"/>
                </a:rPr>
                <a:t>Hostilidade</a:t>
              </a:r>
            </a:p>
          </p:txBody>
        </p:sp>
        <p:sp>
          <p:nvSpPr>
            <p:cNvPr id="61454" name="TextBox 12"/>
            <p:cNvSpPr txBox="1">
              <a:spLocks noChangeArrowheads="1"/>
            </p:cNvSpPr>
            <p:nvPr/>
          </p:nvSpPr>
          <p:spPr bwMode="auto">
            <a:xfrm>
              <a:off x="6616308" y="3886072"/>
              <a:ext cx="1079892" cy="46183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sz="1350" b="1">
                  <a:latin typeface="Calibri"/>
                </a:rPr>
                <a:t>Aceitação</a:t>
              </a:r>
            </a:p>
            <a:p>
              <a:pPr algn="ctr" eaLnBrk="1" hangingPunct="1"/>
              <a:r>
                <a:rPr lang="pt-BR" sz="1350" b="1">
                  <a:latin typeface="Calibri"/>
                </a:rPr>
                <a:t> gradual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-3452" y="4982469"/>
              <a:ext cx="1480438" cy="304389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pt-BR" sz="1575" b="1" dirty="0">
                  <a:ea typeface="ＭＳ Ｐゴシック" charset="0"/>
                  <a:cs typeface="ＭＳ Ｐゴシック" charset="0"/>
                </a:rPr>
                <a:t>Complacência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806277" y="3965897"/>
              <a:ext cx="1480438" cy="304389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pt-BR" sz="1575" b="1" dirty="0">
                  <a:ea typeface="ＭＳ Ｐゴシック" charset="0"/>
                  <a:cs typeface="ＭＳ Ｐゴシック" charset="0"/>
                </a:rPr>
                <a:t>Complacência</a:t>
              </a:r>
            </a:p>
          </p:txBody>
        </p:sp>
        <p:sp>
          <p:nvSpPr>
            <p:cNvPr id="61457" name="TextBox 15"/>
            <p:cNvSpPr txBox="1">
              <a:spLocks noChangeArrowheads="1"/>
            </p:cNvSpPr>
            <p:nvPr/>
          </p:nvSpPr>
          <p:spPr bwMode="auto">
            <a:xfrm>
              <a:off x="7921348" y="2940457"/>
              <a:ext cx="1121052" cy="3043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pt-BR" sz="1575" b="1">
                  <a:latin typeface="Calibri"/>
                </a:rPr>
                <a:t>Avançar</a:t>
              </a:r>
            </a:p>
          </p:txBody>
        </p:sp>
        <p:sp>
          <p:nvSpPr>
            <p:cNvPr id="61458" name="TextBox 16"/>
            <p:cNvSpPr txBox="1">
              <a:spLocks noChangeArrowheads="1"/>
            </p:cNvSpPr>
            <p:nvPr/>
          </p:nvSpPr>
          <p:spPr bwMode="auto">
            <a:xfrm rot="2963339">
              <a:off x="2426056" y="3924194"/>
              <a:ext cx="707793" cy="35193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b="1">
                  <a:latin typeface="Calibri"/>
                </a:rPr>
                <a:t>RAIVA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73382" y="3288462"/>
              <a:ext cx="924434" cy="249226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181" b="1" dirty="0">
                  <a:ea typeface="ＭＳ Ｐゴシック" charset="0"/>
                  <a:cs typeface="ＭＳ Ｐゴシック" charset="0"/>
                </a:rPr>
                <a:t>n</a:t>
              </a:r>
              <a:r>
                <a:rPr lang="pt-BR" sz="1181" b="1" dirty="0">
                  <a:ea typeface="ＭＳ Ｐゴシック" charset="0"/>
                  <a:cs typeface="ＭＳ Ｐゴシック" charset="0"/>
                </a:rPr>
                <a:t>os outros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458013" y="3574316"/>
              <a:ext cx="512013" cy="414483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181" b="1" dirty="0">
                  <a:ea typeface="ＭＳ Ｐゴシック" charset="0"/>
                  <a:cs typeface="ＭＳ Ｐゴシック" charset="0"/>
                </a:rPr>
                <a:t>E</a:t>
              </a:r>
              <a:r>
                <a:rPr lang="x-none" sz="1181" b="1">
                  <a:ea typeface="ＭＳ Ｐゴシック" charset="0"/>
                  <a:cs typeface="ＭＳ Ｐゴシック" charset="0"/>
                </a:rPr>
                <a:t>m</a:t>
              </a:r>
              <a:endParaRPr lang="x-none" sz="1181" b="1" dirty="0">
                <a:ea typeface="ＭＳ Ｐゴシック" charset="0"/>
                <a:cs typeface="ＭＳ Ｐゴシック" charset="0"/>
              </a:endParaRPr>
            </a:p>
            <a:p>
              <a:pPr>
                <a:defRPr/>
              </a:pPr>
              <a:r>
                <a:rPr lang="x-none" sz="1181" b="1" dirty="0">
                  <a:ea typeface="ＭＳ Ｐゴシック" charset="0"/>
                  <a:cs typeface="ＭＳ Ｐゴシック" charset="0"/>
                </a:rPr>
                <a:t> mim</a:t>
              </a:r>
              <a:endParaRPr lang="pt-BR" sz="1181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" name="Cloud Callout 19"/>
            <p:cNvSpPr/>
            <p:nvPr/>
          </p:nvSpPr>
          <p:spPr>
            <a:xfrm>
              <a:off x="221186" y="1784661"/>
              <a:ext cx="889000" cy="482600"/>
            </a:xfrm>
            <a:prstGeom prst="cloudCallout">
              <a:avLst>
                <a:gd name="adj1" fmla="val 29167"/>
                <a:gd name="adj2" fmla="val 65132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Posso lidar?</a:t>
              </a:r>
            </a:p>
          </p:txBody>
        </p:sp>
        <p:sp>
          <p:nvSpPr>
            <p:cNvPr id="21" name="Cloud Callout 20"/>
            <p:cNvSpPr/>
            <p:nvPr/>
          </p:nvSpPr>
          <p:spPr>
            <a:xfrm>
              <a:off x="419100" y="913433"/>
              <a:ext cx="1332343" cy="812800"/>
            </a:xfrm>
            <a:prstGeom prst="cloudCallout">
              <a:avLst>
                <a:gd name="adj1" fmla="val 24103"/>
                <a:gd name="adj2" fmla="val 66624"/>
              </a:avLst>
            </a:prstGeom>
            <a:solidFill>
              <a:schemeClr val="accent5">
                <a:lumMod val="60000"/>
                <a:lumOff val="40000"/>
              </a:schemeClr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Finalmente alguma coisa vai mudar!</a:t>
              </a:r>
            </a:p>
          </p:txBody>
        </p:sp>
        <p:sp>
          <p:nvSpPr>
            <p:cNvPr id="22" name="Cloud Callout 21"/>
            <p:cNvSpPr/>
            <p:nvPr/>
          </p:nvSpPr>
          <p:spPr>
            <a:xfrm>
              <a:off x="2025115" y="749929"/>
              <a:ext cx="1382674" cy="977102"/>
            </a:xfrm>
            <a:prstGeom prst="cloudCallout">
              <a:avLst>
                <a:gd name="adj1" fmla="val -10801"/>
                <a:gd name="adj2" fmla="val 79870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sz="1125" b="1" dirty="0">
                  <a:latin typeface="Calibri"/>
                </a:rPr>
                <a:t>Que impacto </a:t>
              </a:r>
              <a:br>
                <a:rPr lang="pt-BR" sz="1125" b="1" dirty="0">
                  <a:latin typeface="Calibri"/>
                </a:rPr>
              </a:br>
              <a:r>
                <a:rPr lang="pt-BR" sz="1125" b="1" dirty="0">
                  <a:latin typeface="Calibri"/>
                </a:rPr>
                <a:t>isto terá?</a:t>
              </a:r>
            </a:p>
            <a:p>
              <a:pPr algn="ctr" eaLnBrk="1" hangingPunct="1">
                <a:defRPr/>
              </a:pPr>
              <a:r>
                <a:rPr lang="pt-BR" sz="1125" b="1" dirty="0">
                  <a:latin typeface="Calibri"/>
                </a:rPr>
                <a:t>Como vai me afetar?</a:t>
              </a:r>
            </a:p>
          </p:txBody>
        </p:sp>
        <p:sp>
          <p:nvSpPr>
            <p:cNvPr id="23" name="Cloud Callout 22"/>
            <p:cNvSpPr/>
            <p:nvPr/>
          </p:nvSpPr>
          <p:spPr>
            <a:xfrm>
              <a:off x="4409060" y="877098"/>
              <a:ext cx="1392258" cy="482600"/>
            </a:xfrm>
            <a:prstGeom prst="cloudCallout">
              <a:avLst>
                <a:gd name="adj1" fmla="val -60438"/>
                <a:gd name="adj2" fmla="val 83553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sz="1125" b="1" dirty="0">
                  <a:latin typeface="Calibri"/>
                </a:rPr>
                <a:t>Mudar? Que mudança?</a:t>
              </a:r>
            </a:p>
          </p:txBody>
        </p:sp>
        <p:sp>
          <p:nvSpPr>
            <p:cNvPr id="24" name="Cloud Callout 23"/>
            <p:cNvSpPr/>
            <p:nvPr/>
          </p:nvSpPr>
          <p:spPr>
            <a:xfrm>
              <a:off x="2818726" y="1829598"/>
              <a:ext cx="1130306" cy="848319"/>
            </a:xfrm>
            <a:prstGeom prst="cloudCallout">
              <a:avLst>
                <a:gd name="adj1" fmla="val 12509"/>
                <a:gd name="adj2" fmla="val 60571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sz="1125" b="1" dirty="0">
                  <a:latin typeface="Calibri"/>
                </a:rPr>
                <a:t>Isto é maior do que eu pensava!</a:t>
              </a:r>
            </a:p>
          </p:txBody>
        </p:sp>
        <p:sp>
          <p:nvSpPr>
            <p:cNvPr id="25" name="Cloud Callout 24"/>
            <p:cNvSpPr/>
            <p:nvPr/>
          </p:nvSpPr>
          <p:spPr>
            <a:xfrm>
              <a:off x="6026150" y="824200"/>
              <a:ext cx="1458350" cy="644321"/>
            </a:xfrm>
            <a:prstGeom prst="cloudCallout">
              <a:avLst>
                <a:gd name="adj1" fmla="val -55384"/>
                <a:gd name="adj2" fmla="val 160511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sz="1125" b="1" dirty="0">
                  <a:latin typeface="Calibri"/>
                </a:rPr>
                <a:t>Estou fora! ...Isso não é para mim.</a:t>
              </a:r>
            </a:p>
          </p:txBody>
        </p:sp>
        <p:sp>
          <p:nvSpPr>
            <p:cNvPr id="26" name="Cloud Callout 25"/>
            <p:cNvSpPr/>
            <p:nvPr/>
          </p:nvSpPr>
          <p:spPr>
            <a:xfrm>
              <a:off x="6517260" y="1661935"/>
              <a:ext cx="1204340" cy="585965"/>
            </a:xfrm>
            <a:prstGeom prst="cloudCallout">
              <a:avLst>
                <a:gd name="adj1" fmla="val 7051"/>
                <a:gd name="adj2" fmla="val 72717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Eu posso me ver no futuro...</a:t>
              </a:r>
            </a:p>
          </p:txBody>
        </p:sp>
        <p:sp>
          <p:nvSpPr>
            <p:cNvPr id="27" name="Cloud Callout 26"/>
            <p:cNvSpPr/>
            <p:nvPr/>
          </p:nvSpPr>
          <p:spPr>
            <a:xfrm>
              <a:off x="3731218" y="2778652"/>
              <a:ext cx="1204340" cy="585965"/>
            </a:xfrm>
            <a:prstGeom prst="cloudCallout">
              <a:avLst>
                <a:gd name="adj1" fmla="val -4548"/>
                <a:gd name="adj2" fmla="val 118231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pt-BR" sz="1125" b="1" dirty="0">
                  <a:latin typeface="Calibri"/>
                </a:rPr>
                <a:t>Será que eu vou fazer isto?</a:t>
              </a:r>
            </a:p>
          </p:txBody>
        </p:sp>
        <p:sp>
          <p:nvSpPr>
            <p:cNvPr id="28" name="Cloud Callout 27"/>
            <p:cNvSpPr/>
            <p:nvPr/>
          </p:nvSpPr>
          <p:spPr>
            <a:xfrm>
              <a:off x="4495378" y="3481045"/>
              <a:ext cx="1001140" cy="521454"/>
            </a:xfrm>
            <a:prstGeom prst="cloudCallout">
              <a:avLst>
                <a:gd name="adj1" fmla="val 4989"/>
                <a:gd name="adj2" fmla="val 116288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Quem eu sou?</a:t>
              </a:r>
            </a:p>
          </p:txBody>
        </p:sp>
        <p:sp>
          <p:nvSpPr>
            <p:cNvPr id="29" name="Cloud Callout 28"/>
            <p:cNvSpPr/>
            <p:nvPr/>
          </p:nvSpPr>
          <p:spPr>
            <a:xfrm>
              <a:off x="7721599" y="749930"/>
              <a:ext cx="1320801" cy="636934"/>
            </a:xfrm>
            <a:prstGeom prst="cloudCallout">
              <a:avLst>
                <a:gd name="adj1" fmla="val 12324"/>
                <a:gd name="adj2" fmla="val 63007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Isto pode funcionar e ser bom.</a:t>
              </a:r>
            </a:p>
          </p:txBody>
        </p:sp>
        <p:sp>
          <p:nvSpPr>
            <p:cNvPr id="30" name="Cloud Callout 29"/>
            <p:cNvSpPr/>
            <p:nvPr/>
          </p:nvSpPr>
          <p:spPr>
            <a:xfrm>
              <a:off x="7102540" y="4272304"/>
              <a:ext cx="1471040" cy="760650"/>
            </a:xfrm>
            <a:prstGeom prst="cloudCallout">
              <a:avLst>
                <a:gd name="adj1" fmla="val -38212"/>
                <a:gd name="adj2" fmla="val 64311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Eu vou fazer este trabalho se isso</a:t>
              </a:r>
              <a:br>
                <a:rPr lang="pt-BR" sz="1125" b="1" dirty="0">
                  <a:solidFill>
                    <a:schemeClr val="tx1"/>
                  </a:solidFill>
                  <a:cs typeface="Arial Narrow"/>
                </a:rPr>
              </a:br>
              <a:r>
                <a:rPr lang="pt-BR" sz="1125" b="1" dirty="0">
                  <a:solidFill>
                    <a:schemeClr val="tx1"/>
                  </a:solidFill>
                  <a:cs typeface="Arial Narrow"/>
                </a:rPr>
                <a:t> me mata!?!</a:t>
              </a:r>
            </a:p>
          </p:txBody>
        </p:sp>
      </p:grpSp>
      <p:sp>
        <p:nvSpPr>
          <p:cNvPr id="61443" name="Rectangle 2"/>
          <p:cNvSpPr txBox="1">
            <a:spLocks noChangeArrowheads="1"/>
          </p:cNvSpPr>
          <p:nvPr/>
        </p:nvSpPr>
        <p:spPr bwMode="auto">
          <a:xfrm>
            <a:off x="380091" y="923328"/>
            <a:ext cx="928687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pt-BR" sz="4000" b="1" dirty="0">
                <a:solidFill>
                  <a:srgbClr val="69ADE7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urva de transição na mudança</a:t>
            </a:r>
          </a:p>
        </p:txBody>
      </p:sp>
    </p:spTree>
    <p:extLst>
      <p:ext uri="{BB962C8B-B14F-4D97-AF65-F5344CB8AC3E}">
        <p14:creationId xmlns:p14="http://schemas.microsoft.com/office/powerpoint/2010/main" val="2402323907"/>
      </p:ext>
    </p:extLst>
  </p:cSld>
  <p:clrMapOvr>
    <a:masterClrMapping/>
  </p:clrMapOvr>
  <p:transition/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E49FF0-FBEE-4D7B-BB2A-B803E3B99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800" y="751012"/>
            <a:ext cx="6610100" cy="1422662"/>
          </a:xfrm>
        </p:spPr>
        <p:txBody>
          <a:bodyPr vert="horz" lIns="102870" tIns="51435" rIns="102870" bIns="51435" rtlCol="0" anchor="ctr">
            <a:normAutofit/>
          </a:bodyPr>
          <a:lstStyle/>
          <a:p>
            <a:pPr algn="ctr"/>
            <a:r>
              <a:rPr lang="en-US" sz="4000" b="1" dirty="0">
                <a:solidFill>
                  <a:srgbClr val="69ADE7"/>
                </a:solidFill>
                <a:latin typeface="+mn-lt"/>
              </a:rPr>
              <a:t>Fontes de </a:t>
            </a:r>
            <a:r>
              <a:rPr lang="en-US" sz="4000" b="1" dirty="0" err="1">
                <a:solidFill>
                  <a:srgbClr val="69ADE7"/>
                </a:solidFill>
                <a:latin typeface="+mn-lt"/>
              </a:rPr>
              <a:t>resistência</a:t>
            </a:r>
            <a:endParaRPr lang="en-US" sz="4000" b="1" dirty="0">
              <a:solidFill>
                <a:srgbClr val="69ADE7"/>
              </a:solidFill>
              <a:latin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2348623-A093-44B2-B07A-FE02F6796C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762"/>
          <a:stretch/>
        </p:blipFill>
        <p:spPr>
          <a:xfrm>
            <a:off x="1097360" y="2839244"/>
            <a:ext cx="10286999" cy="5143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21984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Freeform 3"/>
          <p:cNvSpPr>
            <a:spLocks/>
          </p:cNvSpPr>
          <p:nvPr/>
        </p:nvSpPr>
        <p:spPr bwMode="auto">
          <a:xfrm>
            <a:off x="4437866" y="2774151"/>
            <a:ext cx="4972050" cy="5486400"/>
          </a:xfrm>
          <a:custGeom>
            <a:avLst/>
            <a:gdLst>
              <a:gd name="T0" fmla="*/ 2147483647 w 3527"/>
              <a:gd name="T1" fmla="*/ 2147483647 h 3398"/>
              <a:gd name="T2" fmla="*/ 2147483647 w 3527"/>
              <a:gd name="T3" fmla="*/ 2147483647 h 3398"/>
              <a:gd name="T4" fmla="*/ 2147483647 w 3527"/>
              <a:gd name="T5" fmla="*/ 2147483647 h 3398"/>
              <a:gd name="T6" fmla="*/ 2147483647 w 3527"/>
              <a:gd name="T7" fmla="*/ 2147483647 h 3398"/>
              <a:gd name="T8" fmla="*/ 2147483647 w 3527"/>
              <a:gd name="T9" fmla="*/ 2147483647 h 3398"/>
              <a:gd name="T10" fmla="*/ 2147483647 w 3527"/>
              <a:gd name="T11" fmla="*/ 2147483647 h 3398"/>
              <a:gd name="T12" fmla="*/ 2147483647 w 3527"/>
              <a:gd name="T13" fmla="*/ 2147483647 h 3398"/>
              <a:gd name="T14" fmla="*/ 2147483647 w 3527"/>
              <a:gd name="T15" fmla="*/ 2147483647 h 3398"/>
              <a:gd name="T16" fmla="*/ 2147483647 w 3527"/>
              <a:gd name="T17" fmla="*/ 2147483647 h 3398"/>
              <a:gd name="T18" fmla="*/ 2147483647 w 3527"/>
              <a:gd name="T19" fmla="*/ 2147483647 h 3398"/>
              <a:gd name="T20" fmla="*/ 2147483647 w 3527"/>
              <a:gd name="T21" fmla="*/ 2147483647 h 3398"/>
              <a:gd name="T22" fmla="*/ 2147483647 w 3527"/>
              <a:gd name="T23" fmla="*/ 2147483647 h 3398"/>
              <a:gd name="T24" fmla="*/ 2147483647 w 3527"/>
              <a:gd name="T25" fmla="*/ 2147483647 h 3398"/>
              <a:gd name="T26" fmla="*/ 2147483647 w 3527"/>
              <a:gd name="T27" fmla="*/ 2147483647 h 3398"/>
              <a:gd name="T28" fmla="*/ 2147483647 w 3527"/>
              <a:gd name="T29" fmla="*/ 2147483647 h 3398"/>
              <a:gd name="T30" fmla="*/ 2147483647 w 3527"/>
              <a:gd name="T31" fmla="*/ 2147483647 h 3398"/>
              <a:gd name="T32" fmla="*/ 2147483647 w 3527"/>
              <a:gd name="T33" fmla="*/ 2147483647 h 3398"/>
              <a:gd name="T34" fmla="*/ 2147483647 w 3527"/>
              <a:gd name="T35" fmla="*/ 2147483647 h 3398"/>
              <a:gd name="T36" fmla="*/ 2147483647 w 3527"/>
              <a:gd name="T37" fmla="*/ 2147483647 h 3398"/>
              <a:gd name="T38" fmla="*/ 2147483647 w 3527"/>
              <a:gd name="T39" fmla="*/ 2147483647 h 3398"/>
              <a:gd name="T40" fmla="*/ 2147483647 w 3527"/>
              <a:gd name="T41" fmla="*/ 2147483647 h 3398"/>
              <a:gd name="T42" fmla="*/ 2147483647 w 3527"/>
              <a:gd name="T43" fmla="*/ 2147483647 h 3398"/>
              <a:gd name="T44" fmla="*/ 2147483647 w 3527"/>
              <a:gd name="T45" fmla="*/ 2147483647 h 3398"/>
              <a:gd name="T46" fmla="*/ 2147483647 w 3527"/>
              <a:gd name="T47" fmla="*/ 2147483647 h 3398"/>
              <a:gd name="T48" fmla="*/ 2147483647 w 3527"/>
              <a:gd name="T49" fmla="*/ 2147483647 h 3398"/>
              <a:gd name="T50" fmla="*/ 2147483647 w 3527"/>
              <a:gd name="T51" fmla="*/ 2147483647 h 3398"/>
              <a:gd name="T52" fmla="*/ 2147483647 w 3527"/>
              <a:gd name="T53" fmla="*/ 2147483647 h 3398"/>
              <a:gd name="T54" fmla="*/ 2147483647 w 3527"/>
              <a:gd name="T55" fmla="*/ 2147483647 h 3398"/>
              <a:gd name="T56" fmla="*/ 2147483647 w 3527"/>
              <a:gd name="T57" fmla="*/ 2147483647 h 3398"/>
              <a:gd name="T58" fmla="*/ 2147483647 w 3527"/>
              <a:gd name="T59" fmla="*/ 2147483647 h 3398"/>
              <a:gd name="T60" fmla="*/ 2147483647 w 3527"/>
              <a:gd name="T61" fmla="*/ 2147483647 h 3398"/>
              <a:gd name="T62" fmla="*/ 2147483647 w 3527"/>
              <a:gd name="T63" fmla="*/ 2147483647 h 3398"/>
              <a:gd name="T64" fmla="*/ 2147483647 w 3527"/>
              <a:gd name="T65" fmla="*/ 2147483647 h 3398"/>
              <a:gd name="T66" fmla="*/ 2147483647 w 3527"/>
              <a:gd name="T67" fmla="*/ 2147483647 h 3398"/>
              <a:gd name="T68" fmla="*/ 2147483647 w 3527"/>
              <a:gd name="T69" fmla="*/ 2147483647 h 33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27"/>
              <a:gd name="T106" fmla="*/ 0 h 3398"/>
              <a:gd name="T107" fmla="*/ 3527 w 3527"/>
              <a:gd name="T108" fmla="*/ 3398 h 339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27" h="3398">
                <a:moveTo>
                  <a:pt x="703" y="869"/>
                </a:moveTo>
                <a:cubicBezTo>
                  <a:pt x="737" y="858"/>
                  <a:pt x="761" y="853"/>
                  <a:pt x="792" y="831"/>
                </a:cubicBezTo>
                <a:cubicBezTo>
                  <a:pt x="835" y="800"/>
                  <a:pt x="850" y="759"/>
                  <a:pt x="895" y="729"/>
                </a:cubicBezTo>
                <a:cubicBezTo>
                  <a:pt x="903" y="716"/>
                  <a:pt x="908" y="701"/>
                  <a:pt x="920" y="691"/>
                </a:cubicBezTo>
                <a:cubicBezTo>
                  <a:pt x="930" y="683"/>
                  <a:pt x="949" y="687"/>
                  <a:pt x="958" y="678"/>
                </a:cubicBezTo>
                <a:cubicBezTo>
                  <a:pt x="967" y="669"/>
                  <a:pt x="964" y="652"/>
                  <a:pt x="971" y="640"/>
                </a:cubicBezTo>
                <a:cubicBezTo>
                  <a:pt x="982" y="622"/>
                  <a:pt x="996" y="606"/>
                  <a:pt x="1009" y="589"/>
                </a:cubicBezTo>
                <a:cubicBezTo>
                  <a:pt x="1025" y="525"/>
                  <a:pt x="1052" y="469"/>
                  <a:pt x="1099" y="423"/>
                </a:cubicBezTo>
                <a:cubicBezTo>
                  <a:pt x="1103" y="406"/>
                  <a:pt x="1104" y="387"/>
                  <a:pt x="1112" y="371"/>
                </a:cubicBezTo>
                <a:cubicBezTo>
                  <a:pt x="1167" y="261"/>
                  <a:pt x="1170" y="293"/>
                  <a:pt x="1303" y="257"/>
                </a:cubicBezTo>
                <a:cubicBezTo>
                  <a:pt x="1454" y="141"/>
                  <a:pt x="1246" y="293"/>
                  <a:pt x="1418" y="193"/>
                </a:cubicBezTo>
                <a:cubicBezTo>
                  <a:pt x="1450" y="175"/>
                  <a:pt x="1477" y="150"/>
                  <a:pt x="1507" y="129"/>
                </a:cubicBezTo>
                <a:cubicBezTo>
                  <a:pt x="1529" y="113"/>
                  <a:pt x="1584" y="103"/>
                  <a:pt x="1584" y="103"/>
                </a:cubicBezTo>
                <a:cubicBezTo>
                  <a:pt x="1628" y="71"/>
                  <a:pt x="1667" y="56"/>
                  <a:pt x="1712" y="27"/>
                </a:cubicBezTo>
                <a:cubicBezTo>
                  <a:pt x="1841" y="31"/>
                  <a:pt x="2191" y="0"/>
                  <a:pt x="2324" y="91"/>
                </a:cubicBezTo>
                <a:cubicBezTo>
                  <a:pt x="2333" y="108"/>
                  <a:pt x="2340" y="126"/>
                  <a:pt x="2350" y="142"/>
                </a:cubicBezTo>
                <a:cubicBezTo>
                  <a:pt x="2366" y="168"/>
                  <a:pt x="2401" y="218"/>
                  <a:pt x="2401" y="218"/>
                </a:cubicBezTo>
                <a:cubicBezTo>
                  <a:pt x="2416" y="262"/>
                  <a:pt x="2439" y="301"/>
                  <a:pt x="2452" y="346"/>
                </a:cubicBezTo>
                <a:cubicBezTo>
                  <a:pt x="2466" y="393"/>
                  <a:pt x="2464" y="422"/>
                  <a:pt x="2503" y="461"/>
                </a:cubicBezTo>
                <a:cubicBezTo>
                  <a:pt x="2516" y="474"/>
                  <a:pt x="2537" y="478"/>
                  <a:pt x="2554" y="486"/>
                </a:cubicBezTo>
                <a:cubicBezTo>
                  <a:pt x="2558" y="499"/>
                  <a:pt x="2559" y="514"/>
                  <a:pt x="2567" y="525"/>
                </a:cubicBezTo>
                <a:cubicBezTo>
                  <a:pt x="2589" y="553"/>
                  <a:pt x="2644" y="601"/>
                  <a:pt x="2644" y="601"/>
                </a:cubicBezTo>
                <a:cubicBezTo>
                  <a:pt x="2668" y="680"/>
                  <a:pt x="2647" y="761"/>
                  <a:pt x="2695" y="831"/>
                </a:cubicBezTo>
                <a:cubicBezTo>
                  <a:pt x="2730" y="1045"/>
                  <a:pt x="2682" y="946"/>
                  <a:pt x="2797" y="1023"/>
                </a:cubicBezTo>
                <a:cubicBezTo>
                  <a:pt x="2836" y="1138"/>
                  <a:pt x="2767" y="954"/>
                  <a:pt x="2861" y="1112"/>
                </a:cubicBezTo>
                <a:cubicBezTo>
                  <a:pt x="2904" y="1184"/>
                  <a:pt x="2912" y="1301"/>
                  <a:pt x="2924" y="1380"/>
                </a:cubicBezTo>
                <a:cubicBezTo>
                  <a:pt x="2920" y="1431"/>
                  <a:pt x="2912" y="1482"/>
                  <a:pt x="2912" y="1533"/>
                </a:cubicBezTo>
                <a:cubicBezTo>
                  <a:pt x="2912" y="1559"/>
                  <a:pt x="2943" y="1603"/>
                  <a:pt x="2950" y="1623"/>
                </a:cubicBezTo>
                <a:cubicBezTo>
                  <a:pt x="2956" y="1639"/>
                  <a:pt x="2956" y="1658"/>
                  <a:pt x="2963" y="1674"/>
                </a:cubicBezTo>
                <a:cubicBezTo>
                  <a:pt x="2978" y="1709"/>
                  <a:pt x="2997" y="1742"/>
                  <a:pt x="3014" y="1776"/>
                </a:cubicBezTo>
                <a:cubicBezTo>
                  <a:pt x="3045" y="1837"/>
                  <a:pt x="3055" y="1905"/>
                  <a:pt x="3078" y="1968"/>
                </a:cubicBezTo>
                <a:cubicBezTo>
                  <a:pt x="3129" y="2106"/>
                  <a:pt x="3082" y="1935"/>
                  <a:pt x="3116" y="2070"/>
                </a:cubicBezTo>
                <a:cubicBezTo>
                  <a:pt x="3120" y="2125"/>
                  <a:pt x="3116" y="2182"/>
                  <a:pt x="3129" y="2236"/>
                </a:cubicBezTo>
                <a:cubicBezTo>
                  <a:pt x="3134" y="2257"/>
                  <a:pt x="3158" y="2268"/>
                  <a:pt x="3167" y="2287"/>
                </a:cubicBezTo>
                <a:cubicBezTo>
                  <a:pt x="3175" y="2303"/>
                  <a:pt x="3171" y="2323"/>
                  <a:pt x="3180" y="2338"/>
                </a:cubicBezTo>
                <a:cubicBezTo>
                  <a:pt x="3189" y="2354"/>
                  <a:pt x="3208" y="2361"/>
                  <a:pt x="3218" y="2376"/>
                </a:cubicBezTo>
                <a:cubicBezTo>
                  <a:pt x="3268" y="2445"/>
                  <a:pt x="3297" y="2505"/>
                  <a:pt x="3371" y="2555"/>
                </a:cubicBezTo>
                <a:cubicBezTo>
                  <a:pt x="3388" y="2589"/>
                  <a:pt x="3420" y="2619"/>
                  <a:pt x="3422" y="2657"/>
                </a:cubicBezTo>
                <a:cubicBezTo>
                  <a:pt x="3436" y="2877"/>
                  <a:pt x="3397" y="2804"/>
                  <a:pt x="3461" y="2900"/>
                </a:cubicBezTo>
                <a:cubicBezTo>
                  <a:pt x="3481" y="2962"/>
                  <a:pt x="3495" y="3019"/>
                  <a:pt x="3524" y="3078"/>
                </a:cubicBezTo>
                <a:cubicBezTo>
                  <a:pt x="3520" y="3121"/>
                  <a:pt x="3527" y="3166"/>
                  <a:pt x="3512" y="3206"/>
                </a:cubicBezTo>
                <a:cubicBezTo>
                  <a:pt x="3507" y="3219"/>
                  <a:pt x="3485" y="3212"/>
                  <a:pt x="3473" y="3219"/>
                </a:cubicBezTo>
                <a:cubicBezTo>
                  <a:pt x="3455" y="3229"/>
                  <a:pt x="3440" y="3246"/>
                  <a:pt x="3422" y="3257"/>
                </a:cubicBezTo>
                <a:cubicBezTo>
                  <a:pt x="3410" y="3264"/>
                  <a:pt x="3396" y="3264"/>
                  <a:pt x="3384" y="3270"/>
                </a:cubicBezTo>
                <a:cubicBezTo>
                  <a:pt x="3362" y="3281"/>
                  <a:pt x="3343" y="3299"/>
                  <a:pt x="3320" y="3308"/>
                </a:cubicBezTo>
                <a:cubicBezTo>
                  <a:pt x="3244" y="3338"/>
                  <a:pt x="3144" y="3350"/>
                  <a:pt x="3065" y="3359"/>
                </a:cubicBezTo>
                <a:cubicBezTo>
                  <a:pt x="2979" y="3381"/>
                  <a:pt x="2896" y="3363"/>
                  <a:pt x="2810" y="3347"/>
                </a:cubicBezTo>
                <a:cubicBezTo>
                  <a:pt x="964" y="3363"/>
                  <a:pt x="1906" y="3341"/>
                  <a:pt x="1175" y="3398"/>
                </a:cubicBezTo>
                <a:cubicBezTo>
                  <a:pt x="978" y="3385"/>
                  <a:pt x="794" y="3372"/>
                  <a:pt x="601" y="3334"/>
                </a:cubicBezTo>
                <a:cubicBezTo>
                  <a:pt x="537" y="3321"/>
                  <a:pt x="507" y="3264"/>
                  <a:pt x="448" y="3244"/>
                </a:cubicBezTo>
                <a:cubicBezTo>
                  <a:pt x="365" y="3183"/>
                  <a:pt x="407" y="3217"/>
                  <a:pt x="307" y="3117"/>
                </a:cubicBezTo>
                <a:cubicBezTo>
                  <a:pt x="294" y="3104"/>
                  <a:pt x="277" y="3094"/>
                  <a:pt x="269" y="3078"/>
                </a:cubicBezTo>
                <a:cubicBezTo>
                  <a:pt x="250" y="3041"/>
                  <a:pt x="242" y="3013"/>
                  <a:pt x="205" y="2989"/>
                </a:cubicBezTo>
                <a:cubicBezTo>
                  <a:pt x="173" y="2969"/>
                  <a:pt x="134" y="2959"/>
                  <a:pt x="103" y="2938"/>
                </a:cubicBezTo>
                <a:cubicBezTo>
                  <a:pt x="90" y="2929"/>
                  <a:pt x="78" y="2921"/>
                  <a:pt x="65" y="2912"/>
                </a:cubicBezTo>
                <a:cubicBezTo>
                  <a:pt x="0" y="2816"/>
                  <a:pt x="29" y="2724"/>
                  <a:pt x="39" y="2606"/>
                </a:cubicBezTo>
                <a:cubicBezTo>
                  <a:pt x="47" y="2512"/>
                  <a:pt x="54" y="2418"/>
                  <a:pt x="65" y="2325"/>
                </a:cubicBezTo>
                <a:cubicBezTo>
                  <a:pt x="74" y="2249"/>
                  <a:pt x="117" y="2179"/>
                  <a:pt x="141" y="2108"/>
                </a:cubicBezTo>
                <a:cubicBezTo>
                  <a:pt x="152" y="2035"/>
                  <a:pt x="170" y="1974"/>
                  <a:pt x="192" y="1904"/>
                </a:cubicBezTo>
                <a:cubicBezTo>
                  <a:pt x="201" y="1875"/>
                  <a:pt x="233" y="1856"/>
                  <a:pt x="243" y="1827"/>
                </a:cubicBezTo>
                <a:cubicBezTo>
                  <a:pt x="265" y="1762"/>
                  <a:pt x="297" y="1722"/>
                  <a:pt x="346" y="1674"/>
                </a:cubicBezTo>
                <a:cubicBezTo>
                  <a:pt x="384" y="1596"/>
                  <a:pt x="434" y="1514"/>
                  <a:pt x="486" y="1444"/>
                </a:cubicBezTo>
                <a:cubicBezTo>
                  <a:pt x="505" y="1389"/>
                  <a:pt x="535" y="1350"/>
                  <a:pt x="550" y="1291"/>
                </a:cubicBezTo>
                <a:cubicBezTo>
                  <a:pt x="571" y="1210"/>
                  <a:pt x="589" y="1109"/>
                  <a:pt x="626" y="1035"/>
                </a:cubicBezTo>
                <a:cubicBezTo>
                  <a:pt x="640" y="1008"/>
                  <a:pt x="661" y="985"/>
                  <a:pt x="677" y="959"/>
                </a:cubicBezTo>
                <a:cubicBezTo>
                  <a:pt x="707" y="910"/>
                  <a:pt x="698" y="901"/>
                  <a:pt x="741" y="857"/>
                </a:cubicBezTo>
                <a:cubicBezTo>
                  <a:pt x="756" y="842"/>
                  <a:pt x="777" y="833"/>
                  <a:pt x="792" y="818"/>
                </a:cubicBezTo>
                <a:cubicBezTo>
                  <a:pt x="873" y="737"/>
                  <a:pt x="759" y="819"/>
                  <a:pt x="856" y="755"/>
                </a:cubicBezTo>
                <a:cubicBezTo>
                  <a:pt x="884" y="713"/>
                  <a:pt x="918" y="694"/>
                  <a:pt x="946" y="652"/>
                </a:cubicBezTo>
                <a:cubicBezTo>
                  <a:pt x="975" y="560"/>
                  <a:pt x="933" y="673"/>
                  <a:pt x="997" y="576"/>
                </a:cubicBezTo>
                <a:cubicBezTo>
                  <a:pt x="1005" y="565"/>
                  <a:pt x="1009" y="537"/>
                  <a:pt x="1009" y="537"/>
                </a:cubicBezTo>
              </a:path>
            </a:pathLst>
          </a:custGeom>
          <a:solidFill>
            <a:srgbClr val="69ADE7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3000" dirty="0">
              <a:latin typeface="Calibri" panose="020F0502020204030204" pitchFamily="34" charset="0"/>
            </a:endParaRPr>
          </a:p>
        </p:txBody>
      </p:sp>
      <p:sp>
        <p:nvSpPr>
          <p:cNvPr id="62467" name="Text Box 4"/>
          <p:cNvSpPr txBox="1">
            <a:spLocks noChangeArrowheads="1"/>
          </p:cNvSpPr>
          <p:nvPr/>
        </p:nvSpPr>
        <p:spPr bwMode="auto">
          <a:xfrm>
            <a:off x="6270978" y="3070886"/>
            <a:ext cx="2286780" cy="5447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Emprego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Remuneração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Premiação</a:t>
            </a:r>
          </a:p>
          <a:p>
            <a:pPr eaLnBrk="1" hangingPunct="1"/>
            <a:endParaRPr lang="pt-BR" sz="3000" dirty="0">
              <a:latin typeface="Calibri" panose="020F0502020204030204" pitchFamily="34" charset="0"/>
            </a:endParaRP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Autoestima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Prestígio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Rejeição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Reconhecimento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Liberdade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Dependência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Medo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Poder </a:t>
            </a:r>
          </a:p>
          <a:p>
            <a:pPr eaLnBrk="1" hangingPunct="1"/>
            <a:r>
              <a:rPr lang="pt-BR" sz="2400" dirty="0">
                <a:latin typeface="Calibri" panose="020F0502020204030204" pitchFamily="34" charset="0"/>
              </a:rPr>
              <a:t>Inveja</a:t>
            </a:r>
          </a:p>
          <a:p>
            <a:pPr eaLnBrk="1" hangingPunct="1"/>
            <a:endParaRPr lang="pt-BR" sz="3000" dirty="0">
              <a:latin typeface="Calibri" panose="020F0502020204030204" pitchFamily="34" charset="0"/>
            </a:endParaRPr>
          </a:p>
        </p:txBody>
      </p:sp>
      <p:sp>
        <p:nvSpPr>
          <p:cNvPr id="219141" name="Line 5"/>
          <p:cNvSpPr>
            <a:spLocks noChangeShapeType="1"/>
          </p:cNvSpPr>
          <p:nvPr/>
        </p:nvSpPr>
        <p:spPr bwMode="auto">
          <a:xfrm flipV="1">
            <a:off x="2167410" y="4317201"/>
            <a:ext cx="8915400" cy="0"/>
          </a:xfrm>
          <a:prstGeom prst="line">
            <a:avLst/>
          </a:prstGeom>
          <a:noFill/>
          <a:ln w="571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pt-BR" sz="3000">
              <a:latin typeface="Calibri" panose="020F0502020204030204" pitchFamily="34" charset="0"/>
            </a:endParaRPr>
          </a:p>
        </p:txBody>
      </p:sp>
      <p:sp>
        <p:nvSpPr>
          <p:cNvPr id="219142" name="Text Box 6"/>
          <p:cNvSpPr txBox="1">
            <a:spLocks noChangeArrowheads="1"/>
          </p:cNvSpPr>
          <p:nvPr/>
        </p:nvSpPr>
        <p:spPr bwMode="auto">
          <a:xfrm>
            <a:off x="359863" y="3563326"/>
            <a:ext cx="460067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800" dirty="0">
                <a:latin typeface="Calibri" panose="020F0502020204030204" pitchFamily="34" charset="0"/>
              </a:rPr>
              <a:t>Ganhos x perdas materiais</a:t>
            </a:r>
          </a:p>
        </p:txBody>
      </p:sp>
      <p:sp>
        <p:nvSpPr>
          <p:cNvPr id="219143" name="Text Box 7"/>
          <p:cNvSpPr txBox="1">
            <a:spLocks noChangeArrowheads="1"/>
          </p:cNvSpPr>
          <p:nvPr/>
        </p:nvSpPr>
        <p:spPr bwMode="auto">
          <a:xfrm>
            <a:off x="283585" y="4533467"/>
            <a:ext cx="506225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2800" dirty="0">
                <a:latin typeface="Calibri" panose="020F0502020204030204" pitchFamily="34" charset="0"/>
              </a:rPr>
              <a:t>Ganhos x perdas não materiais</a:t>
            </a:r>
          </a:p>
        </p:txBody>
      </p:sp>
      <p:sp>
        <p:nvSpPr>
          <p:cNvPr id="219144" name="Text Box 8"/>
          <p:cNvSpPr txBox="1">
            <a:spLocks noChangeArrowheads="1"/>
          </p:cNvSpPr>
          <p:nvPr/>
        </p:nvSpPr>
        <p:spPr bwMode="auto">
          <a:xfrm>
            <a:off x="8941472" y="3070886"/>
            <a:ext cx="167206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3000">
                <a:latin typeface="Calibri" panose="020F0502020204030204" pitchFamily="34" charset="0"/>
              </a:rPr>
              <a:t>Razões</a:t>
            </a:r>
          </a:p>
          <a:p>
            <a:pPr eaLnBrk="1" hangingPunct="1"/>
            <a:r>
              <a:rPr lang="pt-BR" sz="3000">
                <a:latin typeface="Calibri" panose="020F0502020204030204" pitchFamily="34" charset="0"/>
              </a:rPr>
              <a:t>explícitas</a:t>
            </a:r>
          </a:p>
        </p:txBody>
      </p:sp>
      <p:sp>
        <p:nvSpPr>
          <p:cNvPr id="219145" name="Text Box 9"/>
          <p:cNvSpPr txBox="1">
            <a:spLocks noChangeArrowheads="1"/>
          </p:cNvSpPr>
          <p:nvPr/>
        </p:nvSpPr>
        <p:spPr bwMode="auto">
          <a:xfrm>
            <a:off x="8941473" y="4547857"/>
            <a:ext cx="171495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sz="3000" dirty="0">
                <a:latin typeface="Calibri" panose="020F0502020204030204" pitchFamily="34" charset="0"/>
              </a:rPr>
              <a:t>Razões</a:t>
            </a:r>
          </a:p>
          <a:p>
            <a:pPr eaLnBrk="1" hangingPunct="1"/>
            <a:r>
              <a:rPr lang="pt-BR" sz="3000" dirty="0">
                <a:latin typeface="Calibri" panose="020F0502020204030204" pitchFamily="34" charset="0"/>
              </a:rPr>
              <a:t>implícitas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35E49FF0-FBEE-4D7B-BB2A-B803E3B99538}"/>
              </a:ext>
            </a:extLst>
          </p:cNvPr>
          <p:cNvSpPr txBox="1">
            <a:spLocks/>
          </p:cNvSpPr>
          <p:nvPr/>
        </p:nvSpPr>
        <p:spPr>
          <a:xfrm>
            <a:off x="-644852" y="657808"/>
            <a:ext cx="6610100" cy="1422662"/>
          </a:xfrm>
          <a:prstGeom prst="rect">
            <a:avLst/>
          </a:prstGeom>
        </p:spPr>
        <p:txBody>
          <a:bodyPr vert="horz" lIns="102870" tIns="51435" rIns="102870" bIns="51435" rtlCol="0" anchor="ctr"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4000" b="1" dirty="0">
                <a:solidFill>
                  <a:srgbClr val="69ADE7"/>
                </a:solidFill>
                <a:latin typeface="Calibri" panose="020F0502020204030204" pitchFamily="34" charset="0"/>
              </a:rPr>
              <a:t>Fontes de </a:t>
            </a: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resistência</a:t>
            </a:r>
            <a:endParaRPr lang="en-US" sz="4000" b="1" dirty="0">
              <a:solidFill>
                <a:srgbClr val="69ADE7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648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19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19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19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1000"/>
                                        <p:tgtEl>
                                          <p:spTgt spid="219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219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9141" grpId="0" animBg="1"/>
      <p:bldP spid="219142" grpId="0"/>
      <p:bldP spid="219143" grpId="0"/>
      <p:bldP spid="219144" grpId="0"/>
      <p:bldP spid="219145" grpId="0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A1373C-EF23-4298-B7E5-2696B402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46856" y="679004"/>
            <a:ext cx="9286875" cy="900113"/>
          </a:xfrm>
        </p:spPr>
        <p:txBody>
          <a:bodyPr anchor="t" anchorCtr="0">
            <a:noAutofit/>
          </a:bodyPr>
          <a:lstStyle/>
          <a:p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Principais</a:t>
            </a:r>
            <a:r>
              <a:rPr lang="en-US" sz="4000" b="1" dirty="0">
                <a:solidFill>
                  <a:srgbClr val="69ADE7"/>
                </a:solidFill>
                <a:latin typeface="Calibri" panose="020F0502020204030204" pitchFamily="34" charset="0"/>
              </a:rPr>
              <a:t> </a:t>
            </a: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motivos</a:t>
            </a:r>
            <a:r>
              <a:rPr lang="en-US" sz="4000" b="1" dirty="0">
                <a:solidFill>
                  <a:srgbClr val="69ADE7"/>
                </a:solidFill>
                <a:latin typeface="Calibri" panose="020F0502020204030204" pitchFamily="34" charset="0"/>
              </a:rPr>
              <a:t> de </a:t>
            </a:r>
            <a:r>
              <a:rPr lang="en-US" sz="4000" b="1" dirty="0" err="1">
                <a:solidFill>
                  <a:srgbClr val="69ADE7"/>
                </a:solidFill>
                <a:latin typeface="Calibri" panose="020F0502020204030204" pitchFamily="34" charset="0"/>
              </a:rPr>
              <a:t>resistência</a:t>
            </a:r>
            <a:endParaRPr lang="pt-BR" sz="4000" b="1" dirty="0">
              <a:solidFill>
                <a:srgbClr val="69ADE7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22449"/>
            <a:ext cx="6357846" cy="4729617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9"/>
          <a:stretch/>
        </p:blipFill>
        <p:spPr>
          <a:xfrm>
            <a:off x="6877001" y="2931701"/>
            <a:ext cx="6214648" cy="4729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736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BA58C0AA-7454-206A-2176-D5B11304A7B3}"/>
              </a:ext>
            </a:extLst>
          </p:cNvPr>
          <p:cNvSpPr txBox="1">
            <a:spLocks/>
          </p:cNvSpPr>
          <p:nvPr/>
        </p:nvSpPr>
        <p:spPr>
          <a:xfrm>
            <a:off x="1313384" y="1111052"/>
            <a:ext cx="7454972" cy="5824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pt-BR" sz="3700" b="1" dirty="0">
                <a:solidFill>
                  <a:srgbClr val="69ADE7"/>
                </a:solidFill>
              </a:rPr>
              <a:t>Engajamento das partes interessadas</a:t>
            </a:r>
          </a:p>
        </p:txBody>
      </p: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0143CDCD-D44D-7902-3EBD-F34843D01A2D}"/>
              </a:ext>
            </a:extLst>
          </p:cNvPr>
          <p:cNvGraphicFramePr/>
          <p:nvPr/>
        </p:nvGraphicFramePr>
        <p:xfrm>
          <a:off x="2173543" y="2907267"/>
          <a:ext cx="7812959" cy="5097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 Box 3">
            <a:extLst>
              <a:ext uri="{FF2B5EF4-FFF2-40B4-BE49-F238E27FC236}">
                <a16:creationId xmlns:a16="http://schemas.microsoft.com/office/drawing/2014/main" id="{8727E342-F109-65CF-8720-4B7568F7EA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0136" y="8564781"/>
            <a:ext cx="3850791" cy="91563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pt-BR"/>
            </a:defPPr>
            <a:lvl1pPr algn="just">
              <a:defRPr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pt-BR" sz="2250" dirty="0">
              <a:latin typeface="+mn-lt"/>
            </a:endParaRPr>
          </a:p>
          <a:p>
            <a:r>
              <a:rPr lang="pt-BR" sz="3100" dirty="0">
                <a:latin typeface="+mn-lt"/>
              </a:rPr>
              <a:t>PMBOK: Sétima edição</a:t>
            </a: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34D5B00F-7B2E-A0DB-84CE-EFBCDB4243DF}"/>
              </a:ext>
            </a:extLst>
          </p:cNvPr>
          <p:cNvSpPr txBox="1">
            <a:spLocks/>
          </p:cNvSpPr>
          <p:nvPr/>
        </p:nvSpPr>
        <p:spPr>
          <a:xfrm>
            <a:off x="10530408" y="9480416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676049D4-E8F7-25EC-F42C-1D1FB8EBAA85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2811675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543CDBC7-5751-B6AB-B088-4CDFD1BBBC22}"/>
              </a:ext>
            </a:extLst>
          </p:cNvPr>
          <p:cNvSpPr txBox="1">
            <a:spLocks/>
          </p:cNvSpPr>
          <p:nvPr/>
        </p:nvSpPr>
        <p:spPr>
          <a:xfrm>
            <a:off x="1336639" y="2551212"/>
            <a:ext cx="7454972" cy="53765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ercepções chave dos </a:t>
            </a:r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s</a:t>
            </a: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756AE845-B745-5C00-EEFF-90585D999CBA}"/>
              </a:ext>
            </a:extLst>
          </p:cNvPr>
          <p:cNvSpPr txBox="1">
            <a:spLocks/>
          </p:cNvSpPr>
          <p:nvPr/>
        </p:nvSpPr>
        <p:spPr>
          <a:xfrm>
            <a:off x="5885892" y="4263764"/>
            <a:ext cx="6810089" cy="2642505"/>
          </a:xfrm>
          <a:prstGeom prst="rect">
            <a:avLst/>
          </a:prstGeom>
        </p:spPr>
        <p:txBody>
          <a:bodyPr vert="horz" lIns="102870" tIns="51435" rIns="102870" bIns="51435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9ADE7"/>
              </a:buClr>
              <a:tabLst>
                <a:tab pos="466578" algn="l"/>
              </a:tabLst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Certeza das consequências negativas</a:t>
            </a:r>
          </a:p>
          <a:p>
            <a:pPr>
              <a:buClr>
                <a:srgbClr val="69ADE7"/>
              </a:buClr>
            </a:pPr>
            <a:endParaRPr lang="pt-BR" sz="31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Dúvidas sobre as consequências positivas</a:t>
            </a:r>
          </a:p>
          <a:p>
            <a:pPr>
              <a:buClr>
                <a:srgbClr val="69ADE7"/>
              </a:buClr>
            </a:pPr>
            <a:endParaRPr lang="pt-BR" sz="31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rgbClr val="69ADE7"/>
              </a:buClr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Medo do desconhecido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8F5A7EBC-25BB-58FE-CD6E-8AAD421115E8}"/>
              </a:ext>
            </a:extLst>
          </p:cNvPr>
          <p:cNvSpPr txBox="1">
            <a:spLocks/>
          </p:cNvSpPr>
          <p:nvPr/>
        </p:nvSpPr>
        <p:spPr>
          <a:xfrm>
            <a:off x="347601" y="895028"/>
            <a:ext cx="9433048" cy="537658"/>
          </a:xfrm>
          <a:prstGeom prst="rect">
            <a:avLst/>
          </a:prstGeom>
        </p:spPr>
        <p:txBody>
          <a:bodyPr vert="horz" lIns="94957" tIns="47478" rIns="94957" bIns="4747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100" b="1" dirty="0">
                <a:solidFill>
                  <a:srgbClr val="69ADE7"/>
                </a:solidFill>
              </a:rPr>
              <a:t>Identificar, compreender e analisar</a:t>
            </a: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7198701B-D086-386B-B885-C340E98CB4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639" y="3844317"/>
            <a:ext cx="3955308" cy="3410117"/>
          </a:xfrm>
          <a:prstGeom prst="rect">
            <a:avLst/>
          </a:prstGeom>
        </p:spPr>
      </p:pic>
      <p:sp>
        <p:nvSpPr>
          <p:cNvPr id="9" name="object 5">
            <a:extLst>
              <a:ext uri="{FF2B5EF4-FFF2-40B4-BE49-F238E27FC236}">
                <a16:creationId xmlns:a16="http://schemas.microsoft.com/office/drawing/2014/main" id="{7AF4795E-09FF-7EEF-FE1F-A5A1E6DBA886}"/>
              </a:ext>
            </a:extLst>
          </p:cNvPr>
          <p:cNvSpPr txBox="1">
            <a:spLocks/>
          </p:cNvSpPr>
          <p:nvPr/>
        </p:nvSpPr>
        <p:spPr>
          <a:xfrm>
            <a:off x="9234264" y="9549374"/>
            <a:ext cx="3461717" cy="375945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20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085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ontent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47" t="15750" r="9696" b="14952"/>
          <a:stretch/>
        </p:blipFill>
        <p:spPr bwMode="auto">
          <a:xfrm>
            <a:off x="881336" y="3055268"/>
            <a:ext cx="2390874" cy="4799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de cantos arredondados 8"/>
          <p:cNvSpPr/>
          <p:nvPr/>
        </p:nvSpPr>
        <p:spPr>
          <a:xfrm>
            <a:off x="3905672" y="3415308"/>
            <a:ext cx="9458285" cy="250059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idar com informações contraditórias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utoconhecimento;</a:t>
            </a:r>
          </a:p>
          <a:p>
            <a:pPr marL="321469" indent="-321469">
              <a:lnSpc>
                <a:spcPct val="150000"/>
              </a:lnSpc>
              <a:buClr>
                <a:srgbClr val="69ADE7"/>
              </a:buClr>
              <a:buFont typeface="Arial" panose="020B0604020202020204" pitchFamily="34" charset="0"/>
              <a:buChar char="•"/>
            </a:pPr>
            <a:r>
              <a:rPr lang="pt-BR" sz="310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senvolver habilidades para navegar em tanta inconstância, intuição, experimentação e “aprender a aprender”.</a:t>
            </a:r>
          </a:p>
        </p:txBody>
      </p:sp>
      <p:sp>
        <p:nvSpPr>
          <p:cNvPr id="7" name="Retângulo de cantos arredondados 6"/>
          <p:cNvSpPr/>
          <p:nvPr/>
        </p:nvSpPr>
        <p:spPr>
          <a:xfrm>
            <a:off x="754688" y="967036"/>
            <a:ext cx="3543454" cy="936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b="1" dirty="0">
                <a:solidFill>
                  <a:srgbClr val="69ADE7"/>
                </a:solidFill>
              </a:rPr>
              <a:t>Atual contexto</a:t>
            </a:r>
          </a:p>
        </p:txBody>
      </p:sp>
    </p:spTree>
    <p:extLst>
      <p:ext uri="{BB962C8B-B14F-4D97-AF65-F5344CB8AC3E}">
        <p14:creationId xmlns:p14="http://schemas.microsoft.com/office/powerpoint/2010/main" val="3561976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o 19"/>
          <p:cNvGrpSpPr/>
          <p:nvPr/>
        </p:nvGrpSpPr>
        <p:grpSpPr>
          <a:xfrm>
            <a:off x="1169368" y="2335188"/>
            <a:ext cx="9559062" cy="5955264"/>
            <a:chOff x="1159030" y="1605655"/>
            <a:chExt cx="11248187" cy="6509645"/>
          </a:xfrm>
        </p:grpSpPr>
        <p:sp>
          <p:nvSpPr>
            <p:cNvPr id="26" name="Oval 25"/>
            <p:cNvSpPr/>
            <p:nvPr/>
          </p:nvSpPr>
          <p:spPr>
            <a:xfrm>
              <a:off x="9230532" y="5200903"/>
              <a:ext cx="3176685" cy="850784"/>
            </a:xfrm>
            <a:prstGeom prst="ellipse">
              <a:avLst/>
            </a:prstGeom>
            <a:solidFill>
              <a:srgbClr val="FFFF66"/>
            </a:solidFill>
            <a:ln>
              <a:solidFill>
                <a:srgbClr val="FFFFFF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92">
                <a:solidFill>
                  <a:srgbClr val="2E75B6"/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5559200" y="1605655"/>
              <a:ext cx="3176685" cy="850784"/>
            </a:xfrm>
            <a:prstGeom prst="ellipse">
              <a:avLst/>
            </a:prstGeom>
            <a:solidFill>
              <a:srgbClr val="FFFF66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92">
                <a:solidFill>
                  <a:srgbClr val="2E75B6"/>
                </a:solidFill>
              </a:endParaRPr>
            </a:p>
          </p:txBody>
        </p:sp>
        <p:sp>
          <p:nvSpPr>
            <p:cNvPr id="3" name="Retângulo 2"/>
            <p:cNvSpPr/>
            <p:nvPr/>
          </p:nvSpPr>
          <p:spPr>
            <a:xfrm>
              <a:off x="4500563" y="3103685"/>
              <a:ext cx="2600325" cy="175846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Aliados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454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Usar como fonte de poder</a:t>
              </a:r>
            </a:p>
          </p:txBody>
        </p:sp>
        <p:sp>
          <p:nvSpPr>
            <p:cNvPr id="4" name="Retângulo 3"/>
            <p:cNvSpPr/>
            <p:nvPr/>
          </p:nvSpPr>
          <p:spPr>
            <a:xfrm>
              <a:off x="7186613" y="3103685"/>
              <a:ext cx="2586038" cy="1758462"/>
            </a:xfrm>
            <a:prstGeom prst="re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Bloqueadores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575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Isolar ou negociar</a:t>
              </a:r>
            </a:p>
          </p:txBody>
        </p:sp>
        <p:sp>
          <p:nvSpPr>
            <p:cNvPr id="5" name="Retângulo 4"/>
            <p:cNvSpPr/>
            <p:nvPr/>
          </p:nvSpPr>
          <p:spPr>
            <a:xfrm>
              <a:off x="4500563" y="6356838"/>
              <a:ext cx="2600325" cy="175846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Membros</a:t>
              </a:r>
            </a:p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a rede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575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onstruir forte base de apoio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7172325" y="6356838"/>
              <a:ext cx="2600325" cy="1758462"/>
            </a:xfrm>
            <a:prstGeom prst="rect">
              <a:avLst/>
            </a:prstGeom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err="1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esaceleradores</a:t>
              </a:r>
              <a:b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454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Negociar</a:t>
              </a:r>
            </a:p>
          </p:txBody>
        </p:sp>
        <p:sp>
          <p:nvSpPr>
            <p:cNvPr id="7" name="Retângulo 6"/>
            <p:cNvSpPr/>
            <p:nvPr/>
          </p:nvSpPr>
          <p:spPr>
            <a:xfrm>
              <a:off x="4486277" y="4932485"/>
              <a:ext cx="5314950" cy="457200"/>
            </a:xfrm>
            <a:prstGeom prst="rect">
              <a:avLst/>
            </a:prstGeom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77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ecursos</a:t>
              </a:r>
            </a:p>
          </p:txBody>
        </p:sp>
        <p:sp>
          <p:nvSpPr>
            <p:cNvPr id="8" name="Retângulo 7"/>
            <p:cNvSpPr/>
            <p:nvPr/>
          </p:nvSpPr>
          <p:spPr>
            <a:xfrm>
              <a:off x="4471989" y="5811716"/>
              <a:ext cx="5343525" cy="457200"/>
            </a:xfrm>
            <a:prstGeom prst="rect">
              <a:avLst/>
            </a:prstGeom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77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Suporte político</a:t>
              </a:r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10522507" y="3050933"/>
              <a:ext cx="641178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Alta</a:t>
              </a:r>
            </a:p>
          </p:txBody>
        </p:sp>
        <p:sp>
          <p:nvSpPr>
            <p:cNvPr id="10" name="CaixaDeTexto 9"/>
            <p:cNvSpPr txBox="1"/>
            <p:nvPr/>
          </p:nvSpPr>
          <p:spPr>
            <a:xfrm>
              <a:off x="10453505" y="7622932"/>
              <a:ext cx="781137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Baixa</a:t>
              </a:r>
            </a:p>
          </p:txBody>
        </p:sp>
        <p:cxnSp>
          <p:nvCxnSpPr>
            <p:cNvPr id="11" name="Conector de seta reta 10"/>
            <p:cNvCxnSpPr>
              <a:endCxn id="9" idx="2"/>
            </p:cNvCxnSpPr>
            <p:nvPr/>
          </p:nvCxnSpPr>
          <p:spPr>
            <a:xfrm flipV="1">
              <a:off x="10839368" y="3431448"/>
              <a:ext cx="3728" cy="1729643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de seta reta 11"/>
            <p:cNvCxnSpPr>
              <a:endCxn id="10" idx="0"/>
            </p:cNvCxnSpPr>
            <p:nvPr/>
          </p:nvCxnSpPr>
          <p:spPr>
            <a:xfrm>
              <a:off x="10839369" y="6056006"/>
              <a:ext cx="4704" cy="1566926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CaixaDeTexto 12"/>
            <p:cNvSpPr txBox="1"/>
            <p:nvPr/>
          </p:nvSpPr>
          <p:spPr>
            <a:xfrm>
              <a:off x="2016540" y="5002825"/>
              <a:ext cx="1662550" cy="9396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Necessidades</a:t>
              </a:r>
              <a:b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</a:br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do gerente do</a:t>
              </a:r>
              <a:b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</a:br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projeto</a:t>
              </a:r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4527514" y="2259624"/>
              <a:ext cx="961841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A favor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8811308" y="2259624"/>
              <a:ext cx="909252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Contra</a:t>
              </a:r>
            </a:p>
          </p:txBody>
        </p:sp>
        <p:cxnSp>
          <p:nvCxnSpPr>
            <p:cNvPr id="16" name="Conector de seta reta 15"/>
            <p:cNvCxnSpPr>
              <a:stCxn id="14" idx="3"/>
              <a:endCxn id="15" idx="1"/>
            </p:cNvCxnSpPr>
            <p:nvPr/>
          </p:nvCxnSpPr>
          <p:spPr>
            <a:xfrm>
              <a:off x="5489355" y="2449882"/>
              <a:ext cx="33219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de seta reta 16"/>
            <p:cNvCxnSpPr>
              <a:stCxn id="13" idx="3"/>
              <a:endCxn id="7" idx="1"/>
            </p:cNvCxnSpPr>
            <p:nvPr/>
          </p:nvCxnSpPr>
          <p:spPr>
            <a:xfrm flipV="1">
              <a:off x="3679090" y="5161085"/>
              <a:ext cx="807187" cy="311583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de seta reta 17"/>
            <p:cNvCxnSpPr>
              <a:stCxn id="13" idx="3"/>
              <a:endCxn id="8" idx="1"/>
            </p:cNvCxnSpPr>
            <p:nvPr/>
          </p:nvCxnSpPr>
          <p:spPr>
            <a:xfrm>
              <a:off x="3679090" y="5472669"/>
              <a:ext cx="792898" cy="567648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Picture 6" descr="PPP_IPEOB_CLP_BusinessmanOnCell_02_c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59030" y="2294794"/>
              <a:ext cx="3397151" cy="35762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21" name="CaixaDeTexto 20"/>
            <p:cNvSpPr txBox="1"/>
            <p:nvPr/>
          </p:nvSpPr>
          <p:spPr>
            <a:xfrm>
              <a:off x="10101319" y="5331643"/>
              <a:ext cx="1502066" cy="450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077" b="1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Influência</a:t>
              </a:r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6020763" y="1728583"/>
              <a:ext cx="2299955" cy="450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077" b="1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Posicionamento</a:t>
              </a:r>
            </a:p>
          </p:txBody>
        </p:sp>
      </p:grpSp>
      <p:sp>
        <p:nvSpPr>
          <p:cNvPr id="28" name="Título 1">
            <a:extLst>
              <a:ext uri="{FF2B5EF4-FFF2-40B4-BE49-F238E27FC236}">
                <a16:creationId xmlns:a16="http://schemas.microsoft.com/office/drawing/2014/main" id="{EF545CDF-18A9-107C-AAAA-FD6F1118BD76}"/>
              </a:ext>
            </a:extLst>
          </p:cNvPr>
          <p:cNvSpPr txBox="1">
            <a:spLocks/>
          </p:cNvSpPr>
          <p:nvPr/>
        </p:nvSpPr>
        <p:spPr>
          <a:xfrm>
            <a:off x="-270792" y="858150"/>
            <a:ext cx="9743236" cy="537658"/>
          </a:xfrm>
          <a:prstGeom prst="rect">
            <a:avLst/>
          </a:prstGeom>
        </p:spPr>
        <p:txBody>
          <a:bodyPr vert="horz" lIns="94957" tIns="47478" rIns="94957" bIns="4747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100" b="1" dirty="0">
                <a:solidFill>
                  <a:srgbClr val="69ADE7"/>
                </a:solidFill>
              </a:rPr>
              <a:t>Identificar, compreender e analisar</a:t>
            </a: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8F3729DC-B799-30FD-01D5-639974855DEA}"/>
              </a:ext>
            </a:extLst>
          </p:cNvPr>
          <p:cNvSpPr txBox="1">
            <a:spLocks/>
          </p:cNvSpPr>
          <p:nvPr/>
        </p:nvSpPr>
        <p:spPr>
          <a:xfrm>
            <a:off x="9127056" y="9440333"/>
            <a:ext cx="6703219" cy="375945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20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33655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5356C6-34BB-321C-8A77-3FFFB9D9ED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1">
            <a:extLst>
              <a:ext uri="{FF2B5EF4-FFF2-40B4-BE49-F238E27FC236}">
                <a16:creationId xmlns:a16="http://schemas.microsoft.com/office/drawing/2014/main" id="{7CF67398-EDAD-AE35-8C41-19701CFB8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272" y="174948"/>
            <a:ext cx="5719507" cy="720080"/>
          </a:xfrm>
        </p:spPr>
        <p:txBody>
          <a:bodyPr>
            <a:normAutofit fontScale="90000"/>
          </a:bodyPr>
          <a:lstStyle/>
          <a:p>
            <a:pPr algn="l"/>
            <a:r>
              <a:rPr lang="pt-BR" sz="4100" b="1" dirty="0">
                <a:solidFill>
                  <a:srgbClr val="69ADE7"/>
                </a:solidFill>
              </a:rPr>
              <a:t>Exercício</a:t>
            </a:r>
            <a:br>
              <a:rPr lang="pt-BR" sz="4100" b="1" dirty="0">
                <a:solidFill>
                  <a:srgbClr val="69ADE7"/>
                </a:solidFill>
              </a:rPr>
            </a:br>
            <a:r>
              <a:rPr lang="pt-BR" sz="3400" dirty="0"/>
              <a:t>Classifique os stakeholders abaixo de acordo com os tipos estudados:</a:t>
            </a:r>
            <a:br>
              <a:rPr lang="pt-BR" sz="3400" dirty="0"/>
            </a:br>
            <a:r>
              <a:rPr lang="pt-BR" sz="3400" dirty="0"/>
              <a:t>   </a:t>
            </a:r>
            <a:br>
              <a:rPr lang="pt-BR" sz="3400" dirty="0"/>
            </a:br>
            <a:r>
              <a:rPr lang="pt-BR" sz="3400" dirty="0"/>
              <a:t>1 – Aliado</a:t>
            </a:r>
            <a:br>
              <a:rPr lang="pt-BR" sz="3400" dirty="0"/>
            </a:br>
            <a:r>
              <a:rPr lang="pt-BR" sz="3400" dirty="0"/>
              <a:t>2 – </a:t>
            </a:r>
            <a:r>
              <a:rPr lang="pt-BR" sz="3400" dirty="0" err="1"/>
              <a:t>Bloquedor</a:t>
            </a:r>
            <a:br>
              <a:rPr lang="pt-BR" sz="3400" dirty="0"/>
            </a:br>
            <a:r>
              <a:rPr lang="pt-BR" sz="3400" dirty="0"/>
              <a:t>3 – Membro de rede</a:t>
            </a:r>
            <a:br>
              <a:rPr lang="pt-BR" sz="3400" dirty="0"/>
            </a:br>
            <a:r>
              <a:rPr lang="pt-BR" sz="3400" dirty="0"/>
              <a:t>4 – Desacelerador</a:t>
            </a:r>
            <a:br>
              <a:rPr lang="pt-BR" sz="3400" dirty="0"/>
            </a:br>
            <a:br>
              <a:rPr lang="pt-BR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pt-BR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pt-BR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25" name="Grupo 19">
            <a:extLst>
              <a:ext uri="{FF2B5EF4-FFF2-40B4-BE49-F238E27FC236}">
                <a16:creationId xmlns:a16="http://schemas.microsoft.com/office/drawing/2014/main" id="{F290BFFF-10A8-16F8-9575-A4078109F87B}"/>
              </a:ext>
            </a:extLst>
          </p:cNvPr>
          <p:cNvGrpSpPr/>
          <p:nvPr/>
        </p:nvGrpSpPr>
        <p:grpSpPr>
          <a:xfrm>
            <a:off x="5849888" y="318964"/>
            <a:ext cx="6534726" cy="4155064"/>
            <a:chOff x="1159030" y="1605655"/>
            <a:chExt cx="11248187" cy="6509645"/>
          </a:xfrm>
        </p:grpSpPr>
        <p:sp>
          <p:nvSpPr>
            <p:cNvPr id="27" name="Oval 25">
              <a:extLst>
                <a:ext uri="{FF2B5EF4-FFF2-40B4-BE49-F238E27FC236}">
                  <a16:creationId xmlns:a16="http://schemas.microsoft.com/office/drawing/2014/main" id="{45FD2857-8103-DE51-88D7-947E2E734F1F}"/>
                </a:ext>
              </a:extLst>
            </p:cNvPr>
            <p:cNvSpPr/>
            <p:nvPr/>
          </p:nvSpPr>
          <p:spPr>
            <a:xfrm>
              <a:off x="9230532" y="5200903"/>
              <a:ext cx="3176685" cy="850784"/>
            </a:xfrm>
            <a:prstGeom prst="ellipse">
              <a:avLst/>
            </a:prstGeom>
            <a:solidFill>
              <a:srgbClr val="FFFF66"/>
            </a:solidFill>
            <a:ln>
              <a:solidFill>
                <a:srgbClr val="FFFFFF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92">
                <a:solidFill>
                  <a:srgbClr val="2E75B6"/>
                </a:solidFill>
              </a:endParaRPr>
            </a:p>
          </p:txBody>
        </p:sp>
        <p:sp>
          <p:nvSpPr>
            <p:cNvPr id="29" name="Oval 22">
              <a:extLst>
                <a:ext uri="{FF2B5EF4-FFF2-40B4-BE49-F238E27FC236}">
                  <a16:creationId xmlns:a16="http://schemas.microsoft.com/office/drawing/2014/main" id="{9F642E71-E34C-50E0-2315-330DE26802EC}"/>
                </a:ext>
              </a:extLst>
            </p:cNvPr>
            <p:cNvSpPr/>
            <p:nvPr/>
          </p:nvSpPr>
          <p:spPr>
            <a:xfrm>
              <a:off x="5559200" y="1605655"/>
              <a:ext cx="3176685" cy="850784"/>
            </a:xfrm>
            <a:prstGeom prst="ellipse">
              <a:avLst/>
            </a:prstGeom>
            <a:solidFill>
              <a:srgbClr val="FFFF66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92">
                <a:solidFill>
                  <a:srgbClr val="2E75B6"/>
                </a:solidFill>
              </a:endParaRPr>
            </a:p>
          </p:txBody>
        </p:sp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710FD4BB-A855-8883-20C2-2DE18F8D73A8}"/>
                </a:ext>
              </a:extLst>
            </p:cNvPr>
            <p:cNvSpPr/>
            <p:nvPr/>
          </p:nvSpPr>
          <p:spPr>
            <a:xfrm>
              <a:off x="4500563" y="3103685"/>
              <a:ext cx="2600325" cy="175846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Aliados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454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Usar como fonte de poder</a:t>
              </a:r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E87E2AB6-7EBE-D354-69EF-DA7D2551F1CC}"/>
                </a:ext>
              </a:extLst>
            </p:cNvPr>
            <p:cNvSpPr/>
            <p:nvPr/>
          </p:nvSpPr>
          <p:spPr>
            <a:xfrm>
              <a:off x="7186613" y="3103685"/>
              <a:ext cx="2586038" cy="1758462"/>
            </a:xfrm>
            <a:prstGeom prst="re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Bloqueadores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575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Isolar ou negociar</a:t>
              </a:r>
            </a:p>
          </p:txBody>
        </p:sp>
        <p:sp>
          <p:nvSpPr>
            <p:cNvPr id="32" name="Retângulo 31">
              <a:extLst>
                <a:ext uri="{FF2B5EF4-FFF2-40B4-BE49-F238E27FC236}">
                  <a16:creationId xmlns:a16="http://schemas.microsoft.com/office/drawing/2014/main" id="{F1B32A5D-AEB3-B4DA-0121-207EC0A90368}"/>
                </a:ext>
              </a:extLst>
            </p:cNvPr>
            <p:cNvSpPr/>
            <p:nvPr/>
          </p:nvSpPr>
          <p:spPr>
            <a:xfrm>
              <a:off x="4381651" y="6356838"/>
              <a:ext cx="2600325" cy="175846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Membros</a:t>
              </a:r>
            </a:p>
            <a:p>
              <a:pPr algn="ctr"/>
              <a: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a rede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575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onstruir forte base de apoio</a:t>
              </a:r>
            </a:p>
          </p:txBody>
        </p:sp>
        <p:sp>
          <p:nvSpPr>
            <p:cNvPr id="33" name="Retângulo 32">
              <a:extLst>
                <a:ext uri="{FF2B5EF4-FFF2-40B4-BE49-F238E27FC236}">
                  <a16:creationId xmlns:a16="http://schemas.microsoft.com/office/drawing/2014/main" id="{27BFE1BA-EB4F-57B0-C170-6C0BF180AF79}"/>
                </a:ext>
              </a:extLst>
            </p:cNvPr>
            <p:cNvSpPr/>
            <p:nvPr/>
          </p:nvSpPr>
          <p:spPr>
            <a:xfrm>
              <a:off x="6984537" y="6356838"/>
              <a:ext cx="2881201" cy="1758462"/>
            </a:xfrm>
            <a:prstGeom prst="rect">
              <a:avLst/>
            </a:prstGeom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 err="1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esaceleradores</a:t>
              </a:r>
              <a:b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454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Negociar</a:t>
              </a:r>
            </a:p>
          </p:txBody>
        </p:sp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F8A10FAE-A5CE-2DCE-F2AA-E113992AF91C}"/>
                </a:ext>
              </a:extLst>
            </p:cNvPr>
            <p:cNvSpPr/>
            <p:nvPr/>
          </p:nvSpPr>
          <p:spPr>
            <a:xfrm>
              <a:off x="4486277" y="4932485"/>
              <a:ext cx="5314950" cy="457200"/>
            </a:xfrm>
            <a:prstGeom prst="rect">
              <a:avLst/>
            </a:prstGeom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77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ecursos</a:t>
              </a:r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BD578784-1E28-7B29-8338-44E48CDC26F5}"/>
                </a:ext>
              </a:extLst>
            </p:cNvPr>
            <p:cNvSpPr/>
            <p:nvPr/>
          </p:nvSpPr>
          <p:spPr>
            <a:xfrm>
              <a:off x="4471989" y="5811716"/>
              <a:ext cx="5343525" cy="457200"/>
            </a:xfrm>
            <a:prstGeom prst="rect">
              <a:avLst/>
            </a:prstGeom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77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Suporte político</a:t>
              </a:r>
            </a:p>
          </p:txBody>
        </p:sp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id="{68AC295C-3996-55F5-5294-8CE53F7FA388}"/>
                </a:ext>
              </a:extLst>
            </p:cNvPr>
            <p:cNvSpPr txBox="1"/>
            <p:nvPr/>
          </p:nvSpPr>
          <p:spPr>
            <a:xfrm>
              <a:off x="10522507" y="3050933"/>
              <a:ext cx="641178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Alta</a:t>
              </a: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A88A4F84-074A-96C4-12AC-62EA704D338F}"/>
                </a:ext>
              </a:extLst>
            </p:cNvPr>
            <p:cNvSpPr txBox="1"/>
            <p:nvPr/>
          </p:nvSpPr>
          <p:spPr>
            <a:xfrm>
              <a:off x="10453505" y="7622932"/>
              <a:ext cx="781137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Baixa</a:t>
              </a:r>
            </a:p>
          </p:txBody>
        </p:sp>
        <p:cxnSp>
          <p:nvCxnSpPr>
            <p:cNvPr id="38" name="Conector de seta reta 10">
              <a:extLst>
                <a:ext uri="{FF2B5EF4-FFF2-40B4-BE49-F238E27FC236}">
                  <a16:creationId xmlns:a16="http://schemas.microsoft.com/office/drawing/2014/main" id="{D7BE5616-C70E-BF79-83EF-9B99881511A8}"/>
                </a:ext>
              </a:extLst>
            </p:cNvPr>
            <p:cNvCxnSpPr>
              <a:endCxn id="36" idx="2"/>
            </p:cNvCxnSpPr>
            <p:nvPr/>
          </p:nvCxnSpPr>
          <p:spPr>
            <a:xfrm flipV="1">
              <a:off x="10839368" y="3431448"/>
              <a:ext cx="3728" cy="1729643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de seta reta 11">
              <a:extLst>
                <a:ext uri="{FF2B5EF4-FFF2-40B4-BE49-F238E27FC236}">
                  <a16:creationId xmlns:a16="http://schemas.microsoft.com/office/drawing/2014/main" id="{DCE5C0E6-678C-B1E2-A892-7742DD01674C}"/>
                </a:ext>
              </a:extLst>
            </p:cNvPr>
            <p:cNvCxnSpPr>
              <a:endCxn id="37" idx="0"/>
            </p:cNvCxnSpPr>
            <p:nvPr/>
          </p:nvCxnSpPr>
          <p:spPr>
            <a:xfrm>
              <a:off x="10839369" y="6056006"/>
              <a:ext cx="4704" cy="1566926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C181E5AC-06C9-A1F1-ABC2-A33F2E313A2C}"/>
                </a:ext>
              </a:extLst>
            </p:cNvPr>
            <p:cNvSpPr txBox="1"/>
            <p:nvPr/>
          </p:nvSpPr>
          <p:spPr>
            <a:xfrm>
              <a:off x="2016540" y="5002825"/>
              <a:ext cx="1662550" cy="9396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Necessidades</a:t>
              </a:r>
              <a:b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</a:br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do gerente do</a:t>
              </a:r>
              <a:b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</a:br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projeto</a:t>
              </a: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3DD5F9C5-4B14-8ED1-FACE-C37154CD909C}"/>
                </a:ext>
              </a:extLst>
            </p:cNvPr>
            <p:cNvSpPr txBox="1"/>
            <p:nvPr/>
          </p:nvSpPr>
          <p:spPr>
            <a:xfrm>
              <a:off x="4527514" y="2259624"/>
              <a:ext cx="961841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A favor</a:t>
              </a:r>
            </a:p>
          </p:txBody>
        </p:sp>
        <p:sp>
          <p:nvSpPr>
            <p:cNvPr id="42" name="CaixaDeTexto 41">
              <a:extLst>
                <a:ext uri="{FF2B5EF4-FFF2-40B4-BE49-F238E27FC236}">
                  <a16:creationId xmlns:a16="http://schemas.microsoft.com/office/drawing/2014/main" id="{91F7F777-3D01-AED5-A5C0-BF38AF120144}"/>
                </a:ext>
              </a:extLst>
            </p:cNvPr>
            <p:cNvSpPr txBox="1"/>
            <p:nvPr/>
          </p:nvSpPr>
          <p:spPr>
            <a:xfrm>
              <a:off x="8811308" y="2259624"/>
              <a:ext cx="909252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Contra</a:t>
              </a:r>
            </a:p>
          </p:txBody>
        </p:sp>
        <p:cxnSp>
          <p:nvCxnSpPr>
            <p:cNvPr id="43" name="Conector de seta reta 15">
              <a:extLst>
                <a:ext uri="{FF2B5EF4-FFF2-40B4-BE49-F238E27FC236}">
                  <a16:creationId xmlns:a16="http://schemas.microsoft.com/office/drawing/2014/main" id="{6C6182B2-9DFC-6BE9-F442-3DB3A77DC429}"/>
                </a:ext>
              </a:extLst>
            </p:cNvPr>
            <p:cNvCxnSpPr>
              <a:stCxn id="41" idx="3"/>
              <a:endCxn id="42" idx="1"/>
            </p:cNvCxnSpPr>
            <p:nvPr/>
          </p:nvCxnSpPr>
          <p:spPr>
            <a:xfrm>
              <a:off x="5489355" y="2449882"/>
              <a:ext cx="33219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de seta reta 16">
              <a:extLst>
                <a:ext uri="{FF2B5EF4-FFF2-40B4-BE49-F238E27FC236}">
                  <a16:creationId xmlns:a16="http://schemas.microsoft.com/office/drawing/2014/main" id="{23953D27-5737-B389-A881-A51B6B7F19A7}"/>
                </a:ext>
              </a:extLst>
            </p:cNvPr>
            <p:cNvCxnSpPr>
              <a:stCxn id="40" idx="3"/>
              <a:endCxn id="34" idx="1"/>
            </p:cNvCxnSpPr>
            <p:nvPr/>
          </p:nvCxnSpPr>
          <p:spPr>
            <a:xfrm flipV="1">
              <a:off x="3679090" y="5161085"/>
              <a:ext cx="807187" cy="311583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de seta reta 17">
              <a:extLst>
                <a:ext uri="{FF2B5EF4-FFF2-40B4-BE49-F238E27FC236}">
                  <a16:creationId xmlns:a16="http://schemas.microsoft.com/office/drawing/2014/main" id="{0C53C9DC-16C1-B420-584B-C9CD61AF916F}"/>
                </a:ext>
              </a:extLst>
            </p:cNvPr>
            <p:cNvCxnSpPr>
              <a:stCxn id="40" idx="3"/>
              <a:endCxn id="35" idx="1"/>
            </p:cNvCxnSpPr>
            <p:nvPr/>
          </p:nvCxnSpPr>
          <p:spPr>
            <a:xfrm>
              <a:off x="3679090" y="5472669"/>
              <a:ext cx="792898" cy="567648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6" name="Picture 6" descr="PPP_IPEOB_CLP_BusinessmanOnCell_02_c">
              <a:extLst>
                <a:ext uri="{FF2B5EF4-FFF2-40B4-BE49-F238E27FC236}">
                  <a16:creationId xmlns:a16="http://schemas.microsoft.com/office/drawing/2014/main" id="{25D9104C-B62C-B049-DA46-F20895BD58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59030" y="2294794"/>
              <a:ext cx="3397151" cy="35762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547195ED-95C7-92BA-3425-F2D13CC93DDC}"/>
                </a:ext>
              </a:extLst>
            </p:cNvPr>
            <p:cNvSpPr txBox="1"/>
            <p:nvPr/>
          </p:nvSpPr>
          <p:spPr>
            <a:xfrm>
              <a:off x="10101319" y="5331643"/>
              <a:ext cx="1502066" cy="450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077" b="1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Influência</a:t>
              </a: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43BAFBE8-A0EF-CE7B-8D56-925C75D8EC95}"/>
                </a:ext>
              </a:extLst>
            </p:cNvPr>
            <p:cNvSpPr txBox="1"/>
            <p:nvPr/>
          </p:nvSpPr>
          <p:spPr>
            <a:xfrm>
              <a:off x="5695706" y="1728583"/>
              <a:ext cx="2950070" cy="578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Posicionamento</a:t>
              </a:r>
            </a:p>
          </p:txBody>
        </p:sp>
      </p:grp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4877DB0-755A-EA65-C579-B463FC1DAD93}"/>
              </a:ext>
            </a:extLst>
          </p:cNvPr>
          <p:cNvSpPr txBox="1"/>
          <p:nvPr/>
        </p:nvSpPr>
        <p:spPr>
          <a:xfrm>
            <a:off x="365659" y="4815668"/>
            <a:ext cx="120189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b="1" dirty="0">
                <a:latin typeface="+mn-lt"/>
              </a:rPr>
              <a:t>Vice-Presidente</a:t>
            </a:r>
            <a:r>
              <a:rPr lang="pt-BR" sz="2400" dirty="0">
                <a:latin typeface="+mn-lt"/>
              </a:rPr>
              <a:t>:</a:t>
            </a:r>
          </a:p>
          <a:p>
            <a:r>
              <a:rPr lang="pt-BR" sz="2400" dirty="0">
                <a:latin typeface="+mn-lt"/>
              </a:rPr>
              <a:t>O Vice-presidente foi o responsável por viabilizar o orçamento do projeto “ Vai dar certo”</a:t>
            </a:r>
          </a:p>
          <a:p>
            <a:endParaRPr lang="pt-BR" sz="2400" dirty="0">
              <a:latin typeface="+mn-lt"/>
            </a:endParaRPr>
          </a:p>
          <a:p>
            <a:endParaRPr lang="pt-BR" sz="2400" dirty="0">
              <a:latin typeface="+mn-lt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2878F12C-219A-8317-9FFC-03FE78705573}"/>
              </a:ext>
            </a:extLst>
          </p:cNvPr>
          <p:cNvSpPr txBox="1"/>
          <p:nvPr/>
        </p:nvSpPr>
        <p:spPr>
          <a:xfrm>
            <a:off x="365659" y="5662072"/>
            <a:ext cx="113182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b="1" dirty="0">
                <a:latin typeface="+mn-lt"/>
              </a:rPr>
              <a:t>Diretor A</a:t>
            </a:r>
            <a:r>
              <a:rPr lang="pt-BR" sz="2400" dirty="0">
                <a:latin typeface="+mn-lt"/>
              </a:rPr>
              <a:t>:</a:t>
            </a:r>
          </a:p>
          <a:p>
            <a:r>
              <a:rPr lang="pt-BR" sz="2400" dirty="0">
                <a:latin typeface="+mn-lt"/>
              </a:rPr>
              <a:t>Deseja realizar o projeto em uma única entrega, pois tem dúvida se a estratégia de entregar o projetos em blocos (2 entregas), não ameaçará a manutenção do orç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+mn-lt"/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97C418D8-24C0-ED95-BF53-DF0EA8A80EA5}"/>
              </a:ext>
            </a:extLst>
          </p:cNvPr>
          <p:cNvSpPr txBox="1"/>
          <p:nvPr/>
        </p:nvSpPr>
        <p:spPr>
          <a:xfrm>
            <a:off x="419350" y="6881562"/>
            <a:ext cx="113182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b="1" dirty="0">
                <a:latin typeface="+mn-lt"/>
              </a:rPr>
              <a:t>Superintendente  A</a:t>
            </a:r>
            <a:r>
              <a:rPr lang="pt-BR" sz="2400" dirty="0">
                <a:latin typeface="+mn-lt"/>
              </a:rPr>
              <a:t>:</a:t>
            </a:r>
          </a:p>
          <a:p>
            <a:r>
              <a:rPr lang="pt-BR" sz="2400" dirty="0" err="1">
                <a:latin typeface="+mn-lt"/>
              </a:rPr>
              <a:t>Sponsor</a:t>
            </a:r>
            <a:endParaRPr lang="pt-BR" sz="2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+mn-lt"/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D7203353-092A-5829-E1DC-A2FD5EBA72AD}"/>
              </a:ext>
            </a:extLst>
          </p:cNvPr>
          <p:cNvSpPr txBox="1"/>
          <p:nvPr/>
        </p:nvSpPr>
        <p:spPr>
          <a:xfrm>
            <a:off x="365659" y="7596996"/>
            <a:ext cx="113182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b="1" dirty="0">
                <a:latin typeface="+mn-lt"/>
              </a:rPr>
              <a:t>Gerente  A</a:t>
            </a:r>
            <a:r>
              <a:rPr lang="pt-BR" sz="2400" dirty="0">
                <a:latin typeface="+mn-lt"/>
              </a:rPr>
              <a:t>:</a:t>
            </a:r>
          </a:p>
          <a:p>
            <a:r>
              <a:rPr lang="pt-BR" sz="2400" dirty="0">
                <a:latin typeface="+mn-lt"/>
              </a:rPr>
              <a:t>Deseja realizar o projeto em blocos (3 entregas). Tem receio das entregas demorarem e consequentemente perder apoio na C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+mn-lt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1EE03E5B-A1E5-974B-6EBD-ABF45D2DADBD}"/>
              </a:ext>
            </a:extLst>
          </p:cNvPr>
          <p:cNvSpPr txBox="1"/>
          <p:nvPr/>
        </p:nvSpPr>
        <p:spPr>
          <a:xfrm>
            <a:off x="365659" y="8860911"/>
            <a:ext cx="1201895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b="1" dirty="0">
                <a:latin typeface="+mn-lt"/>
              </a:rPr>
              <a:t>Superintendente B</a:t>
            </a:r>
            <a:r>
              <a:rPr lang="pt-BR" sz="2400" dirty="0">
                <a:latin typeface="+mn-lt"/>
              </a:rPr>
              <a:t>:</a:t>
            </a:r>
          </a:p>
          <a:p>
            <a:r>
              <a:rPr lang="pt-BR" sz="2400" dirty="0">
                <a:latin typeface="+mn-lt"/>
              </a:rPr>
              <a:t>Responsável pelo canal de vendas que será impactado pelo projeto. Tem medo de perder a priorização do seu </a:t>
            </a:r>
            <a:r>
              <a:rPr lang="pt-BR" sz="2400" i="1" dirty="0" err="1">
                <a:latin typeface="+mn-lt"/>
              </a:rPr>
              <a:t>roadmap</a:t>
            </a:r>
            <a:r>
              <a:rPr lang="pt-BR" sz="2400" i="1" dirty="0">
                <a:latin typeface="+mn-lt"/>
              </a:rPr>
              <a:t> </a:t>
            </a:r>
            <a:r>
              <a:rPr lang="pt-BR" sz="2400" dirty="0">
                <a:latin typeface="+mn-lt"/>
              </a:rPr>
              <a:t>de entregas e depois ser “cobrado” pelo resultado não realiza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+mn-lt"/>
            </a:endParaRP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7F0EEFDB-ECA1-F62B-AD5A-4393D45A6137}"/>
              </a:ext>
            </a:extLst>
          </p:cNvPr>
          <p:cNvSpPr txBox="1">
            <a:spLocks/>
          </p:cNvSpPr>
          <p:nvPr/>
        </p:nvSpPr>
        <p:spPr>
          <a:xfrm>
            <a:off x="10739957" y="9941833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13455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7"/>
          <p:cNvGrpSpPr/>
          <p:nvPr/>
        </p:nvGrpSpPr>
        <p:grpSpPr>
          <a:xfrm>
            <a:off x="1934174" y="2917380"/>
            <a:ext cx="9460331" cy="5611455"/>
            <a:chOff x="292897" y="1728383"/>
            <a:chExt cx="13112985" cy="7580597"/>
          </a:xfrm>
        </p:grpSpPr>
        <p:sp>
          <p:nvSpPr>
            <p:cNvPr id="4" name="Retângulo 2"/>
            <p:cNvSpPr/>
            <p:nvPr/>
          </p:nvSpPr>
          <p:spPr bwMode="auto">
            <a:xfrm>
              <a:off x="292897" y="1849028"/>
              <a:ext cx="2732504" cy="25717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none" lIns="93462" tIns="48600" rIns="93462" bIns="486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49642"/>
              <a:r>
                <a:rPr lang="pt-BR" sz="2000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ALIADO</a:t>
              </a:r>
            </a:p>
          </p:txBody>
        </p:sp>
        <p:sp>
          <p:nvSpPr>
            <p:cNvPr id="5" name="Retângulo 2"/>
            <p:cNvSpPr/>
            <p:nvPr/>
          </p:nvSpPr>
          <p:spPr bwMode="auto">
            <a:xfrm>
              <a:off x="10591927" y="1782390"/>
              <a:ext cx="2732504" cy="2571768"/>
            </a:xfrm>
            <a:prstGeom prst="rect">
              <a:avLst/>
            </a:prstGeom>
            <a:solidFill>
              <a:srgbClr val="FF00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none" lIns="93462" tIns="48600" rIns="93462" bIns="486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49642"/>
              <a:r>
                <a:rPr lang="pt-BR" sz="2000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BLOQUEADOR</a:t>
              </a:r>
            </a:p>
          </p:txBody>
        </p:sp>
        <p:sp>
          <p:nvSpPr>
            <p:cNvPr id="6" name="Retângulo 2"/>
            <p:cNvSpPr/>
            <p:nvPr/>
          </p:nvSpPr>
          <p:spPr bwMode="auto">
            <a:xfrm>
              <a:off x="318817" y="6298860"/>
              <a:ext cx="2732504" cy="257176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none" lIns="93462" tIns="48600" rIns="93462" bIns="486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49642"/>
              <a:r>
                <a:rPr lang="pt-BR" sz="2000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MEMBRO </a:t>
              </a:r>
            </a:p>
            <a:p>
              <a:pPr algn="ctr" defTabSz="949642"/>
              <a:r>
                <a:rPr lang="pt-BR" sz="2000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E REDE </a:t>
              </a:r>
            </a:p>
          </p:txBody>
        </p:sp>
        <p:sp>
          <p:nvSpPr>
            <p:cNvPr id="7" name="Retângulo 2"/>
            <p:cNvSpPr/>
            <p:nvPr/>
          </p:nvSpPr>
          <p:spPr bwMode="auto">
            <a:xfrm>
              <a:off x="10673378" y="6398816"/>
              <a:ext cx="2732504" cy="2571768"/>
            </a:xfrm>
            <a:prstGeom prst="rect">
              <a:avLst/>
            </a:prstGeom>
            <a:solidFill>
              <a:srgbClr val="FFFF0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none" lIns="93462" tIns="48600" rIns="93462" bIns="486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49642"/>
              <a:r>
                <a:rPr lang="pt-BR" sz="200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ESACELERADOR</a:t>
              </a: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6774705" y="1728383"/>
              <a:ext cx="0" cy="7496600"/>
            </a:xfrm>
            <a:prstGeom prst="line">
              <a:avLst/>
            </a:prstGeom>
            <a:ln w="381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1018056" y="5300837"/>
              <a:ext cx="11328195" cy="111060"/>
            </a:xfrm>
            <a:prstGeom prst="line">
              <a:avLst/>
            </a:prstGeom>
            <a:ln w="381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109720" y="1820953"/>
              <a:ext cx="3678554" cy="38251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Sponsor e GP são Aliados por definição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Planejar sua participação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Manter comunicação permanente.</a:t>
              </a:r>
            </a:p>
            <a:p>
              <a:pPr marL="296763" indent="-296763">
                <a:buFont typeface="Wingdings" charset="2"/>
                <a:buChar char="§"/>
              </a:pPr>
              <a:endParaRPr lang="pt-BR" dirty="0">
                <a:solidFill>
                  <a:srgbClr val="2E75B6"/>
                </a:solidFill>
                <a:latin typeface="+mn-lt"/>
                <a:cs typeface="Helvetica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815192" y="1809392"/>
              <a:ext cx="3590944" cy="3450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“Normalmente” estão entre os alvos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Mudar seu interesse ou tirar seu poder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Buscar apoio de aliados.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120422" y="5899585"/>
              <a:ext cx="3595883" cy="34093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Podem ser agentes ou alvos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Manter comunicação permanente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Manter comprometimento</a:t>
              </a:r>
              <a:r>
                <a:rPr lang="pt-BR" sz="2000" dirty="0">
                  <a:solidFill>
                    <a:srgbClr val="2E75B6"/>
                  </a:solidFill>
                  <a:latin typeface="+mn-lt"/>
                  <a:cs typeface="Helvetica"/>
                </a:rPr>
                <a:t>.</a:t>
              </a:r>
            </a:p>
            <a:p>
              <a:pPr marL="296763" indent="-296763">
                <a:buFont typeface="Wingdings" charset="2"/>
                <a:buChar char="§"/>
              </a:pPr>
              <a:endParaRPr lang="pt-BR" dirty="0">
                <a:solidFill>
                  <a:srgbClr val="2E75B6"/>
                </a:solidFill>
                <a:latin typeface="+mn-lt"/>
                <a:cs typeface="Helvetica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15112" y="5791572"/>
              <a:ext cx="3858265" cy="2993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Só podem ser alvos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Mudar seu interesse ou afastar;</a:t>
              </a:r>
            </a:p>
            <a:p>
              <a:pPr marL="321469" indent="-321469">
                <a:buClr>
                  <a:srgbClr val="69ADE7"/>
                </a:buClr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Buscar apoio dos MR ou Aliados, quando necessário.</a:t>
              </a:r>
            </a:p>
            <a:p>
              <a:pPr marL="296763" indent="-296763">
                <a:buFont typeface="Wingdings" charset="2"/>
                <a:buChar char="§"/>
              </a:pPr>
              <a:endParaRPr lang="pt-BR" dirty="0">
                <a:solidFill>
                  <a:srgbClr val="2E75B6"/>
                </a:solidFill>
                <a:latin typeface="+mn-lt"/>
                <a:cs typeface="Helvetica"/>
              </a:endParaRPr>
            </a:p>
          </p:txBody>
        </p:sp>
      </p:grpSp>
      <p:sp>
        <p:nvSpPr>
          <p:cNvPr id="16" name="object 5">
            <a:extLst>
              <a:ext uri="{FF2B5EF4-FFF2-40B4-BE49-F238E27FC236}">
                <a16:creationId xmlns:a16="http://schemas.microsoft.com/office/drawing/2014/main" id="{E44CEAEE-1AE0-8F01-E475-A1E35F038EF8}"/>
              </a:ext>
            </a:extLst>
          </p:cNvPr>
          <p:cNvSpPr txBox="1">
            <a:spLocks/>
          </p:cNvSpPr>
          <p:nvPr/>
        </p:nvSpPr>
        <p:spPr>
          <a:xfrm>
            <a:off x="9230346" y="9603903"/>
            <a:ext cx="6703219" cy="375945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20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20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20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6657F83B-453F-7E20-9817-AE76362C4BEA}"/>
              </a:ext>
            </a:extLst>
          </p:cNvPr>
          <p:cNvSpPr txBox="1">
            <a:spLocks/>
          </p:cNvSpPr>
          <p:nvPr/>
        </p:nvSpPr>
        <p:spPr>
          <a:xfrm>
            <a:off x="399587" y="866186"/>
            <a:ext cx="9743236" cy="537658"/>
          </a:xfrm>
          <a:prstGeom prst="rect">
            <a:avLst/>
          </a:prstGeom>
        </p:spPr>
        <p:txBody>
          <a:bodyPr vert="horz" lIns="94957" tIns="47478" rIns="94957" bIns="4747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100" b="1" dirty="0">
                <a:solidFill>
                  <a:srgbClr val="69ADE7"/>
                </a:solidFill>
              </a:rPr>
              <a:t>Identificar, compreender e analisar</a:t>
            </a:r>
          </a:p>
        </p:txBody>
      </p:sp>
    </p:spTree>
    <p:extLst>
      <p:ext uri="{BB962C8B-B14F-4D97-AF65-F5344CB8AC3E}">
        <p14:creationId xmlns:p14="http://schemas.microsoft.com/office/powerpoint/2010/main" val="429475975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2"/>
          <p:cNvGraphicFramePr>
            <a:graphicFrameLocks noGrp="1"/>
          </p:cNvGraphicFramePr>
          <p:nvPr/>
        </p:nvGraphicFramePr>
        <p:xfrm>
          <a:off x="1601416" y="2407196"/>
          <a:ext cx="9948675" cy="52634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22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4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5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24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81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05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036607">
                <a:tc>
                  <a:txBody>
                    <a:bodyPr/>
                    <a:lstStyle/>
                    <a:p>
                      <a:pPr algn="ctr"/>
                      <a:r>
                        <a:rPr lang="pt-BR" sz="1700" b="0" i="1" noProof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keholder</a:t>
                      </a:r>
                      <a:endParaRPr lang="pt-BR" sz="1700" b="0" i="1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ta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7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osiçã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volvimento/impac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ualificação</a:t>
                      </a:r>
                    </a:p>
                    <a:p>
                      <a:pPr algn="ctr"/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A,B,M,D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7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tivo</a:t>
                      </a:r>
                    </a:p>
                    <a:p>
                      <a:pPr algn="ctr"/>
                      <a:r>
                        <a:rPr lang="pt-BR" sz="17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D,C,M)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751">
                <a:tc>
                  <a:txBody>
                    <a:bodyPr/>
                    <a:lstStyle/>
                    <a:p>
                      <a:r>
                        <a:rPr lang="pt-BR" sz="17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ntôni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amal 371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efe da</a:t>
                      </a:r>
                      <a:r>
                        <a:rPr lang="pt-BR" sz="1500" b="0" baseline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ivisão </a:t>
                      </a:r>
                      <a:r>
                        <a:rPr lang="pt-BR" sz="1500" b="0" baseline="0" noProof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X</a:t>
                      </a:r>
                      <a:endParaRPr lang="pt-BR" sz="1500" b="0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rá alterar sua estrutur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acelerador</a:t>
                      </a:r>
                      <a:endParaRPr lang="pt-BR" sz="1500" b="0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do pela perda de pode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7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ornecedor 1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11.3721-XXXX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ornecedor de mat.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s contratos deverão ser revisto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aceler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úvidas quanto ao novo contrat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77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dr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...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tor </a:t>
                      </a:r>
                      <a:r>
                        <a:rPr lang="pt-BR" sz="1500" b="0" noProof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Y</a:t>
                      </a:r>
                      <a:endParaRPr lang="pt-BR" sz="1500" b="0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rá assumir novos processo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mbro de rede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59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indicato 1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r Fulan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presenta os operário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vas atribuições para os operários com novas tecnologia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loqueador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erteza</a:t>
                      </a:r>
                      <a:r>
                        <a:rPr lang="pt-BR" sz="1500" b="0" baseline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que os operários  irão trabalhar mais</a:t>
                      </a:r>
                      <a:endParaRPr lang="pt-BR" sz="1500" b="0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59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olíticos regionai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verso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resse polític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ão da oposiçã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loqueadores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erteza que irá favorecer a situação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17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noProof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utros...</a:t>
                      </a: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noProof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noProof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noProof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noProof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153" marR="77153" marT="47478" marB="47478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3984" y="7785663"/>
            <a:ext cx="3232680" cy="1815882"/>
          </a:xfrm>
          <a:prstGeom prst="rect">
            <a:avLst/>
          </a:prstGeom>
          <a:solidFill>
            <a:srgbClr val="FFFFFF"/>
          </a:solidFill>
          <a:ln>
            <a:solidFill>
              <a:srgbClr val="5B9BD5"/>
            </a:solidFill>
          </a:ln>
        </p:spPr>
        <p:txBody>
          <a:bodyPr wrap="none" rtlCol="0">
            <a:spAutoFit/>
          </a:bodyPr>
          <a:lstStyle/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-  Aliado</a:t>
            </a:r>
          </a:p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 -  Bloqueador</a:t>
            </a:r>
          </a:p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 - Membro de rede</a:t>
            </a:r>
          </a:p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 -  </a:t>
            </a:r>
            <a:r>
              <a:rPr lang="pt-BR" sz="2800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sacelerador</a:t>
            </a:r>
            <a:endParaRPr lang="pt-BR" sz="28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118668" y="7782779"/>
            <a:ext cx="1763624" cy="1384995"/>
          </a:xfrm>
          <a:prstGeom prst="rect">
            <a:avLst/>
          </a:prstGeom>
          <a:solidFill>
            <a:srgbClr val="FFFFFF"/>
          </a:solidFill>
          <a:ln>
            <a:solidFill>
              <a:srgbClr val="5B9BD5"/>
            </a:solidFill>
          </a:ln>
        </p:spPr>
        <p:txBody>
          <a:bodyPr wrap="none" rtlCol="0">
            <a:spAutoFit/>
          </a:bodyPr>
          <a:lstStyle/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 – Dúvida</a:t>
            </a:r>
          </a:p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 - Certeza</a:t>
            </a:r>
          </a:p>
          <a:p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M - Medo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03D92872-150E-7FA3-4C91-677BADD5A0F0}"/>
              </a:ext>
            </a:extLst>
          </p:cNvPr>
          <p:cNvSpPr txBox="1">
            <a:spLocks/>
          </p:cNvSpPr>
          <p:nvPr/>
        </p:nvSpPr>
        <p:spPr>
          <a:xfrm>
            <a:off x="9378280" y="9716519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E7E433B6-9BD5-D32F-9FB3-92CB0871F057}"/>
              </a:ext>
            </a:extLst>
          </p:cNvPr>
          <p:cNvSpPr txBox="1">
            <a:spLocks/>
          </p:cNvSpPr>
          <p:nvPr/>
        </p:nvSpPr>
        <p:spPr>
          <a:xfrm>
            <a:off x="399587" y="866186"/>
            <a:ext cx="9743236" cy="537658"/>
          </a:xfrm>
          <a:prstGeom prst="rect">
            <a:avLst/>
          </a:prstGeom>
        </p:spPr>
        <p:txBody>
          <a:bodyPr vert="horz" lIns="94957" tIns="47478" rIns="94957" bIns="4747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100" b="1" dirty="0">
                <a:solidFill>
                  <a:srgbClr val="69ADE7"/>
                </a:solidFill>
              </a:rPr>
              <a:t>Identificar, compreender e analisar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1A81B57D-B4A1-AEA2-3FE2-59A9FA184EAC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323305645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o 19"/>
          <p:cNvGrpSpPr/>
          <p:nvPr/>
        </p:nvGrpSpPr>
        <p:grpSpPr>
          <a:xfrm>
            <a:off x="1889448" y="2644620"/>
            <a:ext cx="9559062" cy="5955264"/>
            <a:chOff x="1159030" y="1605655"/>
            <a:chExt cx="11248187" cy="6509645"/>
          </a:xfrm>
        </p:grpSpPr>
        <p:sp>
          <p:nvSpPr>
            <p:cNvPr id="26" name="Oval 25"/>
            <p:cNvSpPr/>
            <p:nvPr/>
          </p:nvSpPr>
          <p:spPr>
            <a:xfrm>
              <a:off x="9230532" y="5200903"/>
              <a:ext cx="3176685" cy="850784"/>
            </a:xfrm>
            <a:prstGeom prst="ellipse">
              <a:avLst/>
            </a:prstGeom>
            <a:solidFill>
              <a:srgbClr val="FFFF66"/>
            </a:solidFill>
            <a:ln>
              <a:solidFill>
                <a:srgbClr val="FFFFFF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92">
                <a:solidFill>
                  <a:srgbClr val="2E75B6"/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5559200" y="1605655"/>
              <a:ext cx="3176685" cy="850784"/>
            </a:xfrm>
            <a:prstGeom prst="ellipse">
              <a:avLst/>
            </a:prstGeom>
            <a:solidFill>
              <a:srgbClr val="FFFF66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92">
                <a:solidFill>
                  <a:srgbClr val="2E75B6"/>
                </a:solidFill>
              </a:endParaRPr>
            </a:p>
          </p:txBody>
        </p:sp>
        <p:sp>
          <p:nvSpPr>
            <p:cNvPr id="3" name="Retângulo 2"/>
            <p:cNvSpPr/>
            <p:nvPr/>
          </p:nvSpPr>
          <p:spPr>
            <a:xfrm>
              <a:off x="4500563" y="3103685"/>
              <a:ext cx="2600325" cy="175846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Aliados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454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Usar como fonte de poder</a:t>
              </a:r>
            </a:p>
          </p:txBody>
        </p:sp>
        <p:sp>
          <p:nvSpPr>
            <p:cNvPr id="4" name="Retângulo 3"/>
            <p:cNvSpPr/>
            <p:nvPr/>
          </p:nvSpPr>
          <p:spPr>
            <a:xfrm>
              <a:off x="7186613" y="3103685"/>
              <a:ext cx="2586038" cy="1758462"/>
            </a:xfrm>
            <a:prstGeom prst="re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Bloqueadores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575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Isolar ou negociar</a:t>
              </a:r>
            </a:p>
          </p:txBody>
        </p:sp>
        <p:sp>
          <p:nvSpPr>
            <p:cNvPr id="5" name="Retângulo 4"/>
            <p:cNvSpPr/>
            <p:nvPr/>
          </p:nvSpPr>
          <p:spPr>
            <a:xfrm>
              <a:off x="4500563" y="6356838"/>
              <a:ext cx="2600325" cy="175846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Membros</a:t>
              </a:r>
            </a:p>
            <a:p>
              <a:pPr algn="ctr"/>
              <a:r>
                <a:rPr lang="pt-BR" sz="2250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a rede</a:t>
              </a:r>
              <a:br>
                <a:rPr lang="pt-BR" sz="2492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575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onstruir forte base de apoio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7172325" y="6356838"/>
              <a:ext cx="2600325" cy="1758462"/>
            </a:xfrm>
            <a:prstGeom prst="rect">
              <a:avLst/>
            </a:prstGeom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err="1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esaceleradores</a:t>
              </a:r>
              <a:br>
                <a:rPr lang="pt-BR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pt-BR" sz="1454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Negociar</a:t>
              </a:r>
            </a:p>
          </p:txBody>
        </p:sp>
        <p:sp>
          <p:nvSpPr>
            <p:cNvPr id="7" name="Retângulo 6"/>
            <p:cNvSpPr/>
            <p:nvPr/>
          </p:nvSpPr>
          <p:spPr>
            <a:xfrm>
              <a:off x="4486277" y="4932485"/>
              <a:ext cx="5314950" cy="457200"/>
            </a:xfrm>
            <a:prstGeom prst="rect">
              <a:avLst/>
            </a:prstGeom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77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ecursos</a:t>
              </a:r>
            </a:p>
          </p:txBody>
        </p:sp>
        <p:sp>
          <p:nvSpPr>
            <p:cNvPr id="8" name="Retângulo 7"/>
            <p:cNvSpPr/>
            <p:nvPr/>
          </p:nvSpPr>
          <p:spPr>
            <a:xfrm>
              <a:off x="4471989" y="5811716"/>
              <a:ext cx="5343525" cy="457200"/>
            </a:xfrm>
            <a:prstGeom prst="rect">
              <a:avLst/>
            </a:prstGeom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77" b="1" dirty="0">
                  <a:solidFill>
                    <a:schemeClr val="tx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Suporte político</a:t>
              </a:r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10522507" y="3050933"/>
              <a:ext cx="641178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Alta</a:t>
              </a:r>
            </a:p>
          </p:txBody>
        </p:sp>
        <p:sp>
          <p:nvSpPr>
            <p:cNvPr id="10" name="CaixaDeTexto 9"/>
            <p:cNvSpPr txBox="1"/>
            <p:nvPr/>
          </p:nvSpPr>
          <p:spPr>
            <a:xfrm>
              <a:off x="10453505" y="7622932"/>
              <a:ext cx="781137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Baixa</a:t>
              </a:r>
            </a:p>
          </p:txBody>
        </p:sp>
        <p:cxnSp>
          <p:nvCxnSpPr>
            <p:cNvPr id="11" name="Conector de seta reta 10"/>
            <p:cNvCxnSpPr>
              <a:endCxn id="9" idx="2"/>
            </p:cNvCxnSpPr>
            <p:nvPr/>
          </p:nvCxnSpPr>
          <p:spPr>
            <a:xfrm flipV="1">
              <a:off x="10839368" y="3431448"/>
              <a:ext cx="3728" cy="1729643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de seta reta 11"/>
            <p:cNvCxnSpPr>
              <a:endCxn id="10" idx="0"/>
            </p:cNvCxnSpPr>
            <p:nvPr/>
          </p:nvCxnSpPr>
          <p:spPr>
            <a:xfrm>
              <a:off x="10839369" y="6056006"/>
              <a:ext cx="4704" cy="1566926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CaixaDeTexto 12"/>
            <p:cNvSpPr txBox="1"/>
            <p:nvPr/>
          </p:nvSpPr>
          <p:spPr>
            <a:xfrm>
              <a:off x="2016540" y="5002825"/>
              <a:ext cx="1662550" cy="9396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Necessidades</a:t>
              </a:r>
              <a:b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</a:br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do gerente do</a:t>
              </a:r>
              <a:b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</a:br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projeto</a:t>
              </a:r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4527514" y="2259624"/>
              <a:ext cx="961841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A favor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8811308" y="2259624"/>
              <a:ext cx="909252" cy="3805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662" b="1" dirty="0">
                  <a:solidFill>
                    <a:srgbClr val="2E75B6"/>
                  </a:solidFill>
                  <a:latin typeface="+mn-lt"/>
                  <a:cs typeface="Helvetica"/>
                </a:rPr>
                <a:t>Contra</a:t>
              </a:r>
            </a:p>
          </p:txBody>
        </p:sp>
        <p:cxnSp>
          <p:nvCxnSpPr>
            <p:cNvPr id="16" name="Conector de seta reta 15"/>
            <p:cNvCxnSpPr>
              <a:stCxn id="14" idx="3"/>
              <a:endCxn id="15" idx="1"/>
            </p:cNvCxnSpPr>
            <p:nvPr/>
          </p:nvCxnSpPr>
          <p:spPr>
            <a:xfrm>
              <a:off x="5489355" y="2449882"/>
              <a:ext cx="332195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de seta reta 16"/>
            <p:cNvCxnSpPr>
              <a:stCxn id="13" idx="3"/>
              <a:endCxn id="7" idx="1"/>
            </p:cNvCxnSpPr>
            <p:nvPr/>
          </p:nvCxnSpPr>
          <p:spPr>
            <a:xfrm flipV="1">
              <a:off x="3679090" y="5161085"/>
              <a:ext cx="807187" cy="311583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de seta reta 17"/>
            <p:cNvCxnSpPr>
              <a:stCxn id="13" idx="3"/>
              <a:endCxn id="8" idx="1"/>
            </p:cNvCxnSpPr>
            <p:nvPr/>
          </p:nvCxnSpPr>
          <p:spPr>
            <a:xfrm>
              <a:off x="3679090" y="5472669"/>
              <a:ext cx="792898" cy="567648"/>
            </a:xfrm>
            <a:prstGeom prst="straightConnector1">
              <a:avLst/>
            </a:prstGeom>
            <a:ln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Picture 6" descr="PPP_IPEOB_CLP_BusinessmanOnCell_02_c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59030" y="2294794"/>
              <a:ext cx="3397151" cy="35762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21" name="CaixaDeTexto 20"/>
            <p:cNvSpPr txBox="1"/>
            <p:nvPr/>
          </p:nvSpPr>
          <p:spPr>
            <a:xfrm>
              <a:off x="10101319" y="5331643"/>
              <a:ext cx="1502066" cy="450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077" b="1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Influência</a:t>
              </a:r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6020763" y="1728583"/>
              <a:ext cx="2299955" cy="450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077" b="1" dirty="0">
                  <a:latin typeface="+mn-lt"/>
                  <a:ea typeface="Tahoma" panose="020B0604030504040204" pitchFamily="34" charset="0"/>
                  <a:cs typeface="Tahoma" panose="020B0604030504040204" pitchFamily="34" charset="0"/>
                </a:rPr>
                <a:t>Posicionamento</a:t>
              </a:r>
            </a:p>
          </p:txBody>
        </p:sp>
      </p:grpSp>
      <p:sp>
        <p:nvSpPr>
          <p:cNvPr id="28" name="Título 1">
            <a:extLst>
              <a:ext uri="{FF2B5EF4-FFF2-40B4-BE49-F238E27FC236}">
                <a16:creationId xmlns:a16="http://schemas.microsoft.com/office/drawing/2014/main" id="{EF545CDF-18A9-107C-AAAA-FD6F1118BD76}"/>
              </a:ext>
            </a:extLst>
          </p:cNvPr>
          <p:cNvSpPr txBox="1">
            <a:spLocks/>
          </p:cNvSpPr>
          <p:nvPr/>
        </p:nvSpPr>
        <p:spPr>
          <a:xfrm>
            <a:off x="1880276" y="1145582"/>
            <a:ext cx="7454972" cy="537658"/>
          </a:xfrm>
          <a:prstGeom prst="rect">
            <a:avLst/>
          </a:prstGeom>
        </p:spPr>
        <p:txBody>
          <a:bodyPr vert="horz" lIns="94957" tIns="47478" rIns="94957" bIns="4747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b="1" dirty="0">
                <a:solidFill>
                  <a:srgbClr val="69ADE7"/>
                </a:solidFill>
              </a:rPr>
              <a:t>Priorizar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9C06813D-7CF7-215F-FE14-5FC3EC44A6E7}"/>
              </a:ext>
            </a:extLst>
          </p:cNvPr>
          <p:cNvSpPr/>
          <p:nvPr/>
        </p:nvSpPr>
        <p:spPr>
          <a:xfrm>
            <a:off x="4546190" y="3807849"/>
            <a:ext cx="4789058" cy="1970998"/>
          </a:xfrm>
          <a:prstGeom prst="rect">
            <a:avLst/>
          </a:pr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7" name="Picture 14" descr="PPP_CARRO_CLP_arrow06">
            <a:extLst>
              <a:ext uri="{FF2B5EF4-FFF2-40B4-BE49-F238E27FC236}">
                <a16:creationId xmlns:a16="http://schemas.microsoft.com/office/drawing/2014/main" id="{E3819FA0-F5FD-F42E-60A6-AFA5DB507D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8900000">
            <a:off x="9285327" y="3356651"/>
            <a:ext cx="1397050" cy="58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0" rev="9600000"/>
            </a:camera>
            <a:lightRig rig="threePt" dir="t"/>
          </a:scene3d>
        </p:spPr>
      </p:pic>
      <p:sp>
        <p:nvSpPr>
          <p:cNvPr id="29" name="Text Box 7">
            <a:extLst>
              <a:ext uri="{FF2B5EF4-FFF2-40B4-BE49-F238E27FC236}">
                <a16:creationId xmlns:a16="http://schemas.microsoft.com/office/drawing/2014/main" id="{1395588C-09D8-DB4F-3D3E-8EF4D24C30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87259" y="2628621"/>
            <a:ext cx="4303896" cy="56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omece por aqui</a:t>
            </a:r>
            <a:endParaRPr lang="pt-BR" sz="3100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ítulo 1">
            <a:extLst>
              <a:ext uri="{FF2B5EF4-FFF2-40B4-BE49-F238E27FC236}">
                <a16:creationId xmlns:a16="http://schemas.microsoft.com/office/drawing/2014/main" id="{48E9D5A3-EC15-738F-E820-C8A8BD491B96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2123987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9" grpId="0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2"/>
          <p:cNvSpPr txBox="1">
            <a:spLocks/>
          </p:cNvSpPr>
          <p:nvPr/>
        </p:nvSpPr>
        <p:spPr>
          <a:xfrm>
            <a:off x="881336" y="1903140"/>
            <a:ext cx="11589702" cy="813690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Agentes de mudança são aquelas pessoas, de dentro ou de fora de uma organização, que fornecem assistência técnica especializada ou de consultoria, no manejo de um esforço de mudança.</a:t>
            </a:r>
            <a:br>
              <a:rPr lang="pt-BR" sz="2000" dirty="0">
                <a:ea typeface="Tahoma" panose="020B0604030504040204" pitchFamily="34" charset="0"/>
                <a:cs typeface="Tahoma" panose="020B0604030504040204" pitchFamily="34" charset="0"/>
              </a:rPr>
            </a:br>
            <a:endParaRPr lang="pt-BR" sz="20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São </a:t>
            </a:r>
            <a:r>
              <a:rPr lang="pt-BR" sz="3100" i="1" dirty="0">
                <a:ea typeface="Tahoma" panose="020B0604030504040204" pitchFamily="34" charset="0"/>
                <a:cs typeface="Tahoma" panose="020B0604030504040204" pitchFamily="34" charset="0"/>
              </a:rPr>
              <a:t>Stakeholders</a:t>
            </a: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 especiais que vão lidar com os </a:t>
            </a:r>
            <a:r>
              <a:rPr lang="pt-BR" sz="3100" i="1" dirty="0">
                <a:ea typeface="Tahoma" panose="020B0604030504040204" pitchFamily="34" charset="0"/>
                <a:cs typeface="Tahoma" panose="020B0604030504040204" pitchFamily="34" charset="0"/>
              </a:rPr>
              <a:t>Stakeholders </a:t>
            </a: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alvos para buscar  mudanças comportamentais de forma a obter apoio ao projeto.</a:t>
            </a:r>
            <a:endParaRPr lang="pt-BR" sz="20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pt-BR" sz="20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Características:</a:t>
            </a:r>
          </a:p>
          <a:p>
            <a:pPr lvl="1"/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Normalmente são pessoas influentes, que são referência para os </a:t>
            </a:r>
            <a:r>
              <a:rPr lang="pt-BR" sz="3100" i="1" dirty="0">
                <a:ea typeface="Tahoma" panose="020B0604030504040204" pitchFamily="34" charset="0"/>
                <a:cs typeface="Tahoma" panose="020B0604030504040204" pitchFamily="34" charset="0"/>
              </a:rPr>
              <a:t>Stakeholders</a:t>
            </a:r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 alvo.</a:t>
            </a:r>
            <a:b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</a:br>
            <a:endParaRPr lang="pt-BR" sz="31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Devem ser percebidos pelos alvos que resistem à mudança como dignos de confiança, não-agressivos e responsáveis. </a:t>
            </a:r>
            <a:b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</a:br>
            <a:endParaRPr lang="pt-BR" sz="31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pt-BR" sz="3100" dirty="0">
                <a:ea typeface="Tahoma" panose="020B0604030504040204" pitchFamily="34" charset="0"/>
                <a:cs typeface="Tahoma" panose="020B0604030504040204" pitchFamily="34" charset="0"/>
              </a:rPr>
              <a:t>Líderes naturais, excelentes negociadores e comunicadores e, de preferência, proximidade dos alvos (é mais efetivo e barato!).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0" y="606996"/>
            <a:ext cx="10945216" cy="537658"/>
          </a:xfrm>
        </p:spPr>
        <p:txBody>
          <a:bodyPr>
            <a:noAutofit/>
          </a:bodyPr>
          <a:lstStyle/>
          <a:p>
            <a:r>
              <a:rPr lang="pt-BR" sz="4100" b="1" dirty="0">
                <a:solidFill>
                  <a:srgbClr val="69ADE7"/>
                </a:solidFill>
              </a:rPr>
              <a:t>Engajar e monitorar (agentes de mudança)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6297686E-0384-328A-AA10-BEFB8D81F020}"/>
              </a:ext>
            </a:extLst>
          </p:cNvPr>
          <p:cNvSpPr txBox="1">
            <a:spLocks/>
          </p:cNvSpPr>
          <p:nvPr/>
        </p:nvSpPr>
        <p:spPr>
          <a:xfrm>
            <a:off x="9954344" y="9619757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3489C55C-91F6-739A-16F7-A0AE8CB82D9D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417906118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82"/>
          <p:cNvSpPr txBox="1">
            <a:spLocks noChangeArrowheads="1"/>
          </p:cNvSpPr>
          <p:nvPr/>
        </p:nvSpPr>
        <p:spPr bwMode="auto">
          <a:xfrm>
            <a:off x="945384" y="1638130"/>
            <a:ext cx="12310221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Helvetica" charset="0"/>
                <a:ea typeface="MS PGothic" pitchFamily="34" charset="-128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comunicação - Conjunto de protocolos que devem ser negociados entre os membros da equipe, </a:t>
            </a:r>
            <a:r>
              <a:rPr lang="pt-BR" alt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ponsor</a:t>
            </a: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e o GP para viabilizar o trabalho com os alvos. </a:t>
            </a:r>
          </a:p>
          <a:p>
            <a:endParaRPr lang="pt-BR" altLang="pt-BR" sz="3100" dirty="0">
              <a:solidFill>
                <a:srgbClr val="2E75B6"/>
              </a:solidFill>
              <a:latin typeface="+mn-lt"/>
            </a:endParaRPr>
          </a:p>
          <a:p>
            <a:r>
              <a:rPr lang="pt-BR" altLang="pt-BR" sz="31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1</a:t>
            </a: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(GP x </a:t>
            </a:r>
            <a:r>
              <a:rPr lang="pt-BR" altLang="pt-BR" sz="31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ponsor)</a:t>
            </a: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sob demanda;</a:t>
            </a:r>
          </a:p>
          <a:p>
            <a:r>
              <a:rPr lang="pt-BR" altLang="pt-BR" sz="31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2</a:t>
            </a: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(GP x Agentes) – relatórios e reuniões regulares;</a:t>
            </a:r>
          </a:p>
          <a:p>
            <a:r>
              <a:rPr lang="pt-BR" altLang="pt-BR" sz="31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P3</a:t>
            </a:r>
            <a:r>
              <a:rPr lang="pt-BR" alt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(Agentes x Alvos) – comunicação, reuniões, comunicação, comunicação...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241376" y="6399967"/>
            <a:ext cx="8605373" cy="3136021"/>
            <a:chOff x="98365" y="2928126"/>
            <a:chExt cx="9618869" cy="3642604"/>
          </a:xfrm>
        </p:grpSpPr>
        <p:sp>
          <p:nvSpPr>
            <p:cNvPr id="39" name="Elipse 4"/>
            <p:cNvSpPr/>
            <p:nvPr/>
          </p:nvSpPr>
          <p:spPr>
            <a:xfrm>
              <a:off x="1112679" y="2928126"/>
              <a:ext cx="2606285" cy="59167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rgbClr val="2E75B6"/>
                  </a:solidFill>
                </a:rPr>
                <a:t>Patrocinador</a:t>
              </a:r>
            </a:p>
          </p:txBody>
        </p:sp>
        <p:sp>
          <p:nvSpPr>
            <p:cNvPr id="40" name="Elipse 6"/>
            <p:cNvSpPr/>
            <p:nvPr/>
          </p:nvSpPr>
          <p:spPr>
            <a:xfrm>
              <a:off x="1703158" y="3711400"/>
              <a:ext cx="1432112" cy="59167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92" b="1" dirty="0">
                  <a:solidFill>
                    <a:srgbClr val="2E75B6"/>
                  </a:solidFill>
                </a:rPr>
                <a:t>GP</a:t>
              </a:r>
            </a:p>
          </p:txBody>
        </p:sp>
        <p:sp>
          <p:nvSpPr>
            <p:cNvPr id="41" name="Elipse 7"/>
            <p:cNvSpPr/>
            <p:nvPr/>
          </p:nvSpPr>
          <p:spPr>
            <a:xfrm>
              <a:off x="98365" y="4888704"/>
              <a:ext cx="1432112" cy="59167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rgbClr val="2E75B6"/>
                  </a:solidFill>
                </a:rPr>
                <a:t>Equipe 1</a:t>
              </a:r>
            </a:p>
          </p:txBody>
        </p:sp>
        <p:sp>
          <p:nvSpPr>
            <p:cNvPr id="42" name="Elipse 8"/>
            <p:cNvSpPr/>
            <p:nvPr/>
          </p:nvSpPr>
          <p:spPr>
            <a:xfrm>
              <a:off x="1707477" y="4888704"/>
              <a:ext cx="1432112" cy="59167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rgbClr val="2E75B6"/>
                  </a:solidFill>
                </a:rPr>
                <a:t>Equipe 2</a:t>
              </a:r>
            </a:p>
          </p:txBody>
        </p:sp>
        <p:sp>
          <p:nvSpPr>
            <p:cNvPr id="43" name="Elipse 9"/>
            <p:cNvSpPr/>
            <p:nvPr/>
          </p:nvSpPr>
          <p:spPr>
            <a:xfrm>
              <a:off x="3250581" y="4888704"/>
              <a:ext cx="1432112" cy="59167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rgbClr val="2E75B6"/>
                  </a:solidFill>
                </a:rPr>
                <a:t>Equipe 3</a:t>
              </a:r>
            </a:p>
          </p:txBody>
        </p:sp>
        <p:sp>
          <p:nvSpPr>
            <p:cNvPr id="44" name="Elipse 10"/>
            <p:cNvSpPr/>
            <p:nvPr/>
          </p:nvSpPr>
          <p:spPr>
            <a:xfrm>
              <a:off x="5417704" y="4818140"/>
              <a:ext cx="1443318" cy="591671"/>
            </a:xfrm>
            <a:prstGeom prst="ellipse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rgbClr val="2E75B6"/>
                  </a:solidFill>
                </a:rPr>
                <a:t>Agente</a:t>
              </a:r>
            </a:p>
          </p:txBody>
        </p:sp>
        <p:sp>
          <p:nvSpPr>
            <p:cNvPr id="45" name="Elipse 11"/>
            <p:cNvSpPr/>
            <p:nvPr/>
          </p:nvSpPr>
          <p:spPr>
            <a:xfrm>
              <a:off x="7750999" y="4818140"/>
              <a:ext cx="1443318" cy="591671"/>
            </a:xfrm>
            <a:prstGeom prst="ellipse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rgbClr val="2E75B6"/>
                  </a:solidFill>
                </a:rPr>
                <a:t>Agente</a:t>
              </a:r>
            </a:p>
          </p:txBody>
        </p:sp>
        <p:sp>
          <p:nvSpPr>
            <p:cNvPr id="46" name="Elipse 12"/>
            <p:cNvSpPr/>
            <p:nvPr/>
          </p:nvSpPr>
          <p:spPr>
            <a:xfrm>
              <a:off x="4961531" y="5979059"/>
              <a:ext cx="1021977" cy="591671"/>
            </a:xfrm>
            <a:prstGeom prst="ellipse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BR" sz="1575" b="1" dirty="0">
                  <a:solidFill>
                    <a:srgbClr val="2E75B6"/>
                  </a:solidFill>
                </a:rPr>
                <a:t>Alvo</a:t>
              </a:r>
            </a:p>
          </p:txBody>
        </p:sp>
        <p:sp>
          <p:nvSpPr>
            <p:cNvPr id="47" name="Elipse 13"/>
            <p:cNvSpPr/>
            <p:nvPr/>
          </p:nvSpPr>
          <p:spPr>
            <a:xfrm>
              <a:off x="6206106" y="5979059"/>
              <a:ext cx="1021977" cy="591671"/>
            </a:xfrm>
            <a:prstGeom prst="ellipse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BR" sz="1575" b="1" dirty="0">
                  <a:solidFill>
                    <a:srgbClr val="2E75B6"/>
                  </a:solidFill>
                </a:rPr>
                <a:t>Alvo</a:t>
              </a:r>
            </a:p>
          </p:txBody>
        </p:sp>
        <p:sp>
          <p:nvSpPr>
            <p:cNvPr id="48" name="Elipse 14"/>
            <p:cNvSpPr/>
            <p:nvPr/>
          </p:nvSpPr>
          <p:spPr>
            <a:xfrm>
              <a:off x="7450681" y="5979059"/>
              <a:ext cx="1021977" cy="591671"/>
            </a:xfrm>
            <a:prstGeom prst="ellipse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BR" sz="1575" b="1" dirty="0">
                  <a:solidFill>
                    <a:srgbClr val="2E75B6"/>
                  </a:solidFill>
                </a:rPr>
                <a:t>Alvo</a:t>
              </a:r>
            </a:p>
          </p:txBody>
        </p:sp>
        <p:sp>
          <p:nvSpPr>
            <p:cNvPr id="49" name="Elipse 15"/>
            <p:cNvSpPr/>
            <p:nvPr/>
          </p:nvSpPr>
          <p:spPr>
            <a:xfrm>
              <a:off x="8695257" y="5979059"/>
              <a:ext cx="1021977" cy="591671"/>
            </a:xfrm>
            <a:prstGeom prst="ellipse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BR" sz="1575" b="1" dirty="0">
                  <a:solidFill>
                    <a:srgbClr val="2E75B6"/>
                  </a:solidFill>
                </a:rPr>
                <a:t>Alvo</a:t>
              </a:r>
            </a:p>
          </p:txBody>
        </p:sp>
        <p:cxnSp>
          <p:nvCxnSpPr>
            <p:cNvPr id="53" name="Conector reto 22"/>
            <p:cNvCxnSpPr>
              <a:stCxn id="44" idx="4"/>
              <a:endCxn id="46" idx="0"/>
            </p:cNvCxnSpPr>
            <p:nvPr/>
          </p:nvCxnSpPr>
          <p:spPr>
            <a:xfrm flipH="1">
              <a:off x="5472520" y="5409811"/>
              <a:ext cx="666843" cy="56924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4" name="Conector reto 23"/>
            <p:cNvCxnSpPr>
              <a:stCxn id="45" idx="4"/>
              <a:endCxn id="48" idx="0"/>
            </p:cNvCxnSpPr>
            <p:nvPr/>
          </p:nvCxnSpPr>
          <p:spPr>
            <a:xfrm flipH="1">
              <a:off x="7961670" y="5409811"/>
              <a:ext cx="510988" cy="56924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Conector reto 26"/>
            <p:cNvCxnSpPr>
              <a:stCxn id="44" idx="4"/>
              <a:endCxn id="47" idx="0"/>
            </p:cNvCxnSpPr>
            <p:nvPr/>
          </p:nvCxnSpPr>
          <p:spPr>
            <a:xfrm>
              <a:off x="6139363" y="5409811"/>
              <a:ext cx="577732" cy="56924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Conector reto 29"/>
            <p:cNvCxnSpPr>
              <a:endCxn id="49" idx="0"/>
            </p:cNvCxnSpPr>
            <p:nvPr/>
          </p:nvCxnSpPr>
          <p:spPr>
            <a:xfrm>
              <a:off x="8472658" y="5432234"/>
              <a:ext cx="733588" cy="546825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Conector reto 31"/>
            <p:cNvCxnSpPr>
              <a:stCxn id="40" idx="4"/>
              <a:endCxn id="41" idx="0"/>
            </p:cNvCxnSpPr>
            <p:nvPr/>
          </p:nvCxnSpPr>
          <p:spPr>
            <a:xfrm flipH="1">
              <a:off x="814421" y="4303071"/>
              <a:ext cx="1604793" cy="585633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Conector reto 34"/>
            <p:cNvCxnSpPr>
              <a:stCxn id="40" idx="4"/>
              <a:endCxn id="42" idx="0"/>
            </p:cNvCxnSpPr>
            <p:nvPr/>
          </p:nvCxnSpPr>
          <p:spPr>
            <a:xfrm>
              <a:off x="2419214" y="4303071"/>
              <a:ext cx="4319" cy="585633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Conector reto 37"/>
            <p:cNvCxnSpPr>
              <a:stCxn id="40" idx="4"/>
              <a:endCxn id="43" idx="0"/>
            </p:cNvCxnSpPr>
            <p:nvPr/>
          </p:nvCxnSpPr>
          <p:spPr>
            <a:xfrm>
              <a:off x="2419214" y="4303071"/>
              <a:ext cx="1547423" cy="585633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Conector reto 41"/>
            <p:cNvCxnSpPr>
              <a:stCxn id="39" idx="4"/>
              <a:endCxn id="40" idx="0"/>
            </p:cNvCxnSpPr>
            <p:nvPr/>
          </p:nvCxnSpPr>
          <p:spPr>
            <a:xfrm>
              <a:off x="2415822" y="3519797"/>
              <a:ext cx="3393" cy="191603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Conector reto 44"/>
            <p:cNvCxnSpPr>
              <a:stCxn id="40" idx="4"/>
              <a:endCxn id="45" idx="0"/>
            </p:cNvCxnSpPr>
            <p:nvPr/>
          </p:nvCxnSpPr>
          <p:spPr>
            <a:xfrm>
              <a:off x="2419214" y="4303071"/>
              <a:ext cx="6053444" cy="51506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Conector reto 48"/>
            <p:cNvCxnSpPr>
              <a:stCxn id="40" idx="4"/>
              <a:endCxn id="44" idx="0"/>
            </p:cNvCxnSpPr>
            <p:nvPr/>
          </p:nvCxnSpPr>
          <p:spPr>
            <a:xfrm>
              <a:off x="2419214" y="4303071"/>
              <a:ext cx="3720149" cy="51506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65" name="Straight Connector 64"/>
          <p:cNvCxnSpPr/>
          <p:nvPr/>
        </p:nvCxnSpPr>
        <p:spPr>
          <a:xfrm>
            <a:off x="9889294" y="6742578"/>
            <a:ext cx="935989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9877380" y="7425506"/>
            <a:ext cx="935989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9879649" y="8278598"/>
            <a:ext cx="935989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9867735" y="9301851"/>
            <a:ext cx="935989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10187109" y="6742579"/>
            <a:ext cx="14182" cy="666448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>
          <a:xfrm>
            <a:off x="10300561" y="7437384"/>
            <a:ext cx="14423" cy="850784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>
            <a:off x="10260378" y="8273990"/>
            <a:ext cx="0" cy="1020941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0172931" y="6856009"/>
            <a:ext cx="588623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altLang="pt-BR" sz="2492" b="1" dirty="0">
                <a:solidFill>
                  <a:srgbClr val="2E75B6"/>
                </a:solidFill>
                <a:latin typeface="+mn-lt"/>
              </a:rPr>
              <a:t>P1</a:t>
            </a:r>
            <a:r>
              <a:rPr lang="pt-BR" altLang="pt-BR" sz="2492" dirty="0">
                <a:solidFill>
                  <a:srgbClr val="2E75B6"/>
                </a:solidFill>
                <a:latin typeface="+mn-lt"/>
              </a:rPr>
              <a:t> </a:t>
            </a:r>
            <a:endParaRPr lang="en-US" sz="2492" dirty="0">
              <a:solidFill>
                <a:srgbClr val="2E75B6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0331191" y="7680740"/>
            <a:ext cx="588623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altLang="pt-BR" sz="2492" b="1" dirty="0">
                <a:solidFill>
                  <a:srgbClr val="2E75B6"/>
                </a:solidFill>
                <a:latin typeface="+mn-lt"/>
              </a:rPr>
              <a:t>P2</a:t>
            </a:r>
            <a:r>
              <a:rPr lang="pt-BR" altLang="pt-BR" sz="2492" dirty="0">
                <a:solidFill>
                  <a:srgbClr val="2E75B6"/>
                </a:solidFill>
                <a:latin typeface="+mn-lt"/>
              </a:rPr>
              <a:t> </a:t>
            </a:r>
            <a:endParaRPr lang="en-US" sz="2492" dirty="0">
              <a:solidFill>
                <a:srgbClr val="2E75B6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0368391" y="8604732"/>
            <a:ext cx="588623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altLang="pt-BR" sz="2492" b="1" dirty="0">
                <a:solidFill>
                  <a:srgbClr val="2E75B6"/>
                </a:solidFill>
                <a:latin typeface="+mn-lt"/>
              </a:rPr>
              <a:t>P3</a:t>
            </a:r>
            <a:r>
              <a:rPr lang="pt-BR" altLang="pt-BR" sz="2492" dirty="0">
                <a:solidFill>
                  <a:srgbClr val="2E75B6"/>
                </a:solidFill>
                <a:latin typeface="+mn-lt"/>
              </a:rPr>
              <a:t> </a:t>
            </a:r>
            <a:endParaRPr lang="en-US" sz="2492" dirty="0">
              <a:solidFill>
                <a:srgbClr val="2E75B6"/>
              </a:solidFill>
              <a:latin typeface="+mn-lt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9016D377-A94D-01B1-3557-CB7AC6AA9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50681" y="662725"/>
            <a:ext cx="7454972" cy="537658"/>
          </a:xfrm>
        </p:spPr>
        <p:txBody>
          <a:bodyPr>
            <a:normAutofit fontScale="90000"/>
          </a:bodyPr>
          <a:lstStyle/>
          <a:p>
            <a:r>
              <a:rPr lang="pt-BR" sz="4100" b="1" dirty="0">
                <a:solidFill>
                  <a:srgbClr val="69ADE7"/>
                </a:solidFill>
              </a:rPr>
              <a:t>Engajar e monitorar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F1BBFF6-3C56-F4BD-8D25-DDD2A169722B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129421284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6013" y="626450"/>
            <a:ext cx="11436976" cy="582463"/>
          </a:xfrm>
        </p:spPr>
        <p:txBody>
          <a:bodyPr>
            <a:noAutofit/>
          </a:bodyPr>
          <a:lstStyle/>
          <a:p>
            <a:pPr algn="l"/>
            <a:r>
              <a:rPr lang="pt-BR" sz="4100" b="1" dirty="0">
                <a:solidFill>
                  <a:srgbClr val="69ADE7"/>
                </a:solidFill>
              </a:rPr>
              <a:t>Matriz de engajamento de </a:t>
            </a:r>
            <a:r>
              <a:rPr lang="pt-BR" sz="4100" b="1" i="1" dirty="0">
                <a:solidFill>
                  <a:srgbClr val="69ADE7"/>
                </a:solidFill>
              </a:rPr>
              <a:t>Stakeholders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/>
        </p:nvGraphicFramePr>
        <p:xfrm>
          <a:off x="1256500" y="2931524"/>
          <a:ext cx="8896627" cy="1540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8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5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69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69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269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5103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onsciente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stente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tro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oiador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íder</a:t>
                      </a: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103">
                <a:tc>
                  <a:txBody>
                    <a:bodyPr/>
                    <a:lstStyle/>
                    <a:p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</a:t>
                      </a:r>
                      <a:r>
                        <a:rPr lang="pt-BR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</a:t>
                      </a:r>
                      <a:endParaRPr lang="pt-B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1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</a:t>
                      </a:r>
                      <a:r>
                        <a:rPr lang="pt-BR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pt-B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1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</a:t>
                      </a:r>
                      <a:r>
                        <a:rPr lang="pt-BR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</a:t>
                      </a:r>
                      <a:endParaRPr lang="pt-B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baseline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7153" marR="77153" marT="47478" marB="4747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Seta para a direita 3"/>
          <p:cNvSpPr/>
          <p:nvPr/>
        </p:nvSpPr>
        <p:spPr>
          <a:xfrm>
            <a:off x="3884481" y="3344764"/>
            <a:ext cx="3868341" cy="356088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Seta para a direita 4"/>
          <p:cNvSpPr/>
          <p:nvPr/>
        </p:nvSpPr>
        <p:spPr>
          <a:xfrm>
            <a:off x="6777700" y="3734401"/>
            <a:ext cx="975122" cy="356088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821709" y="6744119"/>
            <a:ext cx="1207258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6115" indent="-356115">
              <a:buFont typeface="Arial" panose="020B0604020202020204" pitchFamily="34" charset="0"/>
              <a:buChar char="•"/>
            </a:pPr>
            <a:r>
              <a:rPr lang="pt-BR" sz="28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nconsciente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desconhece o projeto e seus impactos potenciais.</a:t>
            </a:r>
          </a:p>
          <a:p>
            <a:pPr marL="356115" indent="-356115">
              <a:buFont typeface="Arial" panose="020B0604020202020204" pitchFamily="34" charset="0"/>
              <a:buChar char="•"/>
            </a:pPr>
            <a:r>
              <a:rPr lang="pt-BR" sz="28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Resistente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Consciente do projeto e dos impactos potenciais. Resistente à mudança.</a:t>
            </a:r>
          </a:p>
          <a:p>
            <a:pPr marL="356115" indent="-356115">
              <a:buFont typeface="Arial" panose="020B0604020202020204" pitchFamily="34" charset="0"/>
              <a:buChar char="•"/>
            </a:pPr>
            <a:r>
              <a:rPr lang="pt-BR" sz="28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Neutro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Consciente do projeto mas não apoia e nem é opositor.</a:t>
            </a:r>
          </a:p>
          <a:p>
            <a:pPr marL="356115" indent="-356115">
              <a:buFont typeface="Arial" panose="020B0604020202020204" pitchFamily="34" charset="0"/>
              <a:buChar char="•"/>
            </a:pPr>
            <a:r>
              <a:rPr lang="pt-BR" sz="28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poiador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Consciente do projeto e dos impactos potenciais. Apoia o projeto.</a:t>
            </a:r>
          </a:p>
          <a:p>
            <a:pPr marL="356115" indent="-356115">
              <a:buFont typeface="Arial" panose="020B0604020202020204" pitchFamily="34" charset="0"/>
              <a:buChar char="•"/>
            </a:pPr>
            <a:r>
              <a:rPr lang="pt-BR" sz="28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Líder</a:t>
            </a:r>
            <a:r>
              <a:rPr lang="pt-BR" sz="28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Consciente do projeto e dos impactos potenciais. Ativamente engajado para assegurar o sucesso do projeto.</a:t>
            </a:r>
          </a:p>
        </p:txBody>
      </p:sp>
      <p:sp>
        <p:nvSpPr>
          <p:cNvPr id="7" name="Elipse 6"/>
          <p:cNvSpPr/>
          <p:nvPr/>
        </p:nvSpPr>
        <p:spPr>
          <a:xfrm>
            <a:off x="3493079" y="3255741"/>
            <a:ext cx="471488" cy="534133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Elipse 7"/>
          <p:cNvSpPr/>
          <p:nvPr/>
        </p:nvSpPr>
        <p:spPr>
          <a:xfrm>
            <a:off x="7752820" y="3255741"/>
            <a:ext cx="471488" cy="534133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4123294" y="1831132"/>
            <a:ext cx="3214598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pt-BR" sz="24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stado atual e desejado</a:t>
            </a:r>
          </a:p>
        </p:txBody>
      </p:sp>
      <p:cxnSp>
        <p:nvCxnSpPr>
          <p:cNvPr id="10" name="Conector de seta reta 9"/>
          <p:cNvCxnSpPr>
            <a:stCxn id="9" idx="2"/>
            <a:endCxn id="7" idx="7"/>
          </p:cNvCxnSpPr>
          <p:nvPr/>
        </p:nvCxnSpPr>
        <p:spPr>
          <a:xfrm flipH="1">
            <a:off x="3895519" y="2292797"/>
            <a:ext cx="1835074" cy="104116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Conector de seta reta 10"/>
          <p:cNvCxnSpPr>
            <a:stCxn id="9" idx="2"/>
            <a:endCxn id="8" idx="1"/>
          </p:cNvCxnSpPr>
          <p:nvPr/>
        </p:nvCxnSpPr>
        <p:spPr>
          <a:xfrm>
            <a:off x="5730593" y="2292797"/>
            <a:ext cx="2091275" cy="104116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6993673" y="4769000"/>
            <a:ext cx="3320711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dk1"/>
            </a:solidFill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O Plano de Ger. de </a:t>
            </a:r>
            <a:r>
              <a:rPr lang="pt-BR" sz="24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s </a:t>
            </a:r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ve definir como será feito o movimento desejado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1256500" y="4722915"/>
            <a:ext cx="5098001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dk1"/>
            </a:solidFill>
          </a:ln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assificação de </a:t>
            </a:r>
            <a:r>
              <a:rPr lang="pt-BR" sz="2400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Stakeholders</a:t>
            </a:r>
          </a:p>
          <a:p>
            <a:r>
              <a:rPr lang="pt-BR" sz="24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A classificação mostrada na matriz é apenas um exemplo. Outras classificações podem ser adotadas!</a:t>
            </a:r>
          </a:p>
        </p:txBody>
      </p:sp>
      <p:sp>
        <p:nvSpPr>
          <p:cNvPr id="21" name="Seta para a direita 4"/>
          <p:cNvSpPr/>
          <p:nvPr/>
        </p:nvSpPr>
        <p:spPr>
          <a:xfrm>
            <a:off x="5288166" y="4161400"/>
            <a:ext cx="2488032" cy="351147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Conector de seta reta 12"/>
          <p:cNvCxnSpPr>
            <a:cxnSpLocks/>
            <a:stCxn id="12" idx="1"/>
          </p:cNvCxnSpPr>
          <p:nvPr/>
        </p:nvCxnSpPr>
        <p:spPr>
          <a:xfrm flipH="1" flipV="1">
            <a:off x="5992580" y="3508021"/>
            <a:ext cx="1001093" cy="204580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 flipV="1">
            <a:off x="6861851" y="4034013"/>
            <a:ext cx="131821" cy="1430587"/>
          </a:xfrm>
          <a:prstGeom prst="line">
            <a:avLst/>
          </a:prstGeom>
          <a:ln>
            <a:solidFill>
              <a:srgbClr val="000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ector de seta reta 12"/>
          <p:cNvCxnSpPr>
            <a:cxnSpLocks/>
            <a:stCxn id="12" idx="1"/>
          </p:cNvCxnSpPr>
          <p:nvPr/>
        </p:nvCxnSpPr>
        <p:spPr>
          <a:xfrm flipH="1" flipV="1">
            <a:off x="5977591" y="4317226"/>
            <a:ext cx="1016082" cy="123660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object 5">
            <a:extLst>
              <a:ext uri="{FF2B5EF4-FFF2-40B4-BE49-F238E27FC236}">
                <a16:creationId xmlns:a16="http://schemas.microsoft.com/office/drawing/2014/main" id="{DF71690F-D6FF-8C23-EA94-5975D7F01FAB}"/>
              </a:ext>
            </a:extLst>
          </p:cNvPr>
          <p:cNvSpPr txBox="1">
            <a:spLocks/>
          </p:cNvSpPr>
          <p:nvPr/>
        </p:nvSpPr>
        <p:spPr>
          <a:xfrm>
            <a:off x="9882336" y="9766885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Prof.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dmarson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Mota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F9AA271E-943C-3A58-8000-8782FF5A1AF5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59648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BA58C0AA-7454-206A-2176-D5B11304A7B3}"/>
              </a:ext>
            </a:extLst>
          </p:cNvPr>
          <p:cNvSpPr txBox="1">
            <a:spLocks/>
          </p:cNvSpPr>
          <p:nvPr/>
        </p:nvSpPr>
        <p:spPr>
          <a:xfrm>
            <a:off x="541680" y="1244031"/>
            <a:ext cx="7454972" cy="5824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100" b="1" dirty="0">
                <a:solidFill>
                  <a:srgbClr val="69ADE7"/>
                </a:solidFill>
              </a:rPr>
              <a:t>Monitorar a satisfação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1528187B-CC30-597B-0FE0-AFB3F8DCE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932" y="3943235"/>
            <a:ext cx="7405531" cy="4126092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58A33A6C-0486-F575-59B9-1B8B0C7C6B61}"/>
              </a:ext>
            </a:extLst>
          </p:cNvPr>
          <p:cNvSpPr/>
          <p:nvPr/>
        </p:nvSpPr>
        <p:spPr>
          <a:xfrm>
            <a:off x="483932" y="7897544"/>
            <a:ext cx="745497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75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https://vaniabarbosauxr.medium.com/identificando-padr%C3%B5es-de-comportamento-de-sua-equipe-com-gr%C3%A1fico-niko-niko-d7fdbffa989f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5FD73A08-F7CA-D172-F749-78A1399E8560}"/>
              </a:ext>
            </a:extLst>
          </p:cNvPr>
          <p:cNvSpPr/>
          <p:nvPr/>
        </p:nvSpPr>
        <p:spPr>
          <a:xfrm>
            <a:off x="483932" y="2965010"/>
            <a:ext cx="7454972" cy="57292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4946" tIns="47473" rIns="94946" bIns="47473">
            <a:spAutoFit/>
          </a:bodyPr>
          <a:lstStyle/>
          <a:p>
            <a:pPr eaLnBrk="0" hangingPunct="0">
              <a:spcBef>
                <a:spcPts val="2492"/>
              </a:spcBef>
            </a:pPr>
            <a:r>
              <a:rPr lang="pt-BR" sz="3100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Gráfico de Humor da equipe</a:t>
            </a: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2D1A7A7F-6C76-7A82-9613-640DB8FA1E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6652" y="3901983"/>
            <a:ext cx="4963139" cy="3995561"/>
          </a:xfrm>
          <a:prstGeom prst="rect">
            <a:avLst/>
          </a:prstGeom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F2B9F9BE-BF8A-2257-8F2B-543019AD75B2}"/>
              </a:ext>
            </a:extLst>
          </p:cNvPr>
          <p:cNvSpPr/>
          <p:nvPr/>
        </p:nvSpPr>
        <p:spPr>
          <a:xfrm>
            <a:off x="8304266" y="7974114"/>
            <a:ext cx="5411735" cy="3347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75" i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https://resultadosdigitais.com.br/marketing/o-que-e-nps/</a:t>
            </a: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6EB60FC3-57DF-9C1E-88DF-4151080FA541}"/>
              </a:ext>
            </a:extLst>
          </p:cNvPr>
          <p:cNvSpPr txBox="1">
            <a:spLocks/>
          </p:cNvSpPr>
          <p:nvPr/>
        </p:nvSpPr>
        <p:spPr>
          <a:xfrm>
            <a:off x="10143170" y="9535988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2BEE40EB-77EC-D91E-7028-C59CAEFED547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296143959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93304" y="1255068"/>
            <a:ext cx="7454972" cy="582463"/>
          </a:xfrm>
        </p:spPr>
        <p:txBody>
          <a:bodyPr>
            <a:normAutofit fontScale="90000"/>
          </a:bodyPr>
          <a:lstStyle/>
          <a:p>
            <a:pPr algn="l"/>
            <a:r>
              <a:rPr lang="pt-BR" sz="4100" b="1" dirty="0">
                <a:solidFill>
                  <a:srgbClr val="69ADE7"/>
                </a:solidFill>
              </a:rPr>
              <a:t>Case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F418C0B-78B1-6110-73A8-52FC0429ACA2}"/>
              </a:ext>
            </a:extLst>
          </p:cNvPr>
          <p:cNvSpPr txBox="1"/>
          <p:nvPr/>
        </p:nvSpPr>
        <p:spPr>
          <a:xfrm>
            <a:off x="612940" y="2623220"/>
            <a:ext cx="11616496" cy="533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316547" indent="-316547">
              <a:buFont typeface="Arial" panose="020B0604020202020204" pitchFamily="34" charset="0"/>
              <a:buChar char="•"/>
              <a:defRPr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just"/>
            <a:r>
              <a:rPr lang="pt-BR" sz="3100" b="0" dirty="0">
                <a:latin typeface="+mn-lt"/>
              </a:rPr>
              <a:t>O projeto “ Vai dar certo” tem como principal objetivo a adoção de uma nova tecnologia dentro do principal canal de venda da Cia. </a:t>
            </a:r>
          </a:p>
          <a:p>
            <a:pPr algn="just"/>
            <a:endParaRPr lang="pt-BR" sz="3100" b="0" dirty="0">
              <a:latin typeface="+mn-lt"/>
            </a:endParaRPr>
          </a:p>
          <a:p>
            <a:pPr algn="just"/>
            <a:r>
              <a:rPr lang="pt-BR" sz="3100" b="0" dirty="0">
                <a:latin typeface="+mn-lt"/>
              </a:rPr>
              <a:t>Não existe consenso em relação ao entendimento das partes interessadas (</a:t>
            </a:r>
            <a:r>
              <a:rPr lang="pt-BR" sz="3100" b="0" i="1" dirty="0">
                <a:latin typeface="+mn-lt"/>
              </a:rPr>
              <a:t>Stakeholders)</a:t>
            </a:r>
            <a:r>
              <a:rPr lang="pt-BR" sz="3100" b="0" dirty="0">
                <a:latin typeface="+mn-lt"/>
              </a:rPr>
              <a:t>, sobre qual o escopo mínimo a ser considerado na 1ª entrega.</a:t>
            </a:r>
          </a:p>
          <a:p>
            <a:pPr algn="just"/>
            <a:endParaRPr lang="pt-BR" sz="3100" b="0" dirty="0">
              <a:latin typeface="+mn-lt"/>
            </a:endParaRPr>
          </a:p>
          <a:p>
            <a:pPr algn="just"/>
            <a:r>
              <a:rPr lang="pt-BR" sz="3100" b="0" dirty="0">
                <a:latin typeface="+mn-lt"/>
              </a:rPr>
              <a:t>Para potencializar ainda mais os ruídos na comunicação, temos um conflito de interesse com o Superintendente responsável pelo canal de venda, que defende a ideia que o projeto seja realizado após a execução do </a:t>
            </a:r>
            <a:r>
              <a:rPr lang="pt-BR" sz="3100" b="0" i="1" dirty="0" err="1">
                <a:latin typeface="+mn-lt"/>
              </a:rPr>
              <a:t>roadmap</a:t>
            </a:r>
            <a:r>
              <a:rPr lang="pt-BR" sz="3100" b="0" i="1" dirty="0">
                <a:latin typeface="+mn-lt"/>
              </a:rPr>
              <a:t> </a:t>
            </a:r>
            <a:r>
              <a:rPr lang="pt-BR" sz="3100" b="0" dirty="0">
                <a:latin typeface="+mn-lt"/>
              </a:rPr>
              <a:t>já “alinhado” com a Cia.</a:t>
            </a:r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82E1A8C5-E448-303F-505B-008093B9F153}"/>
              </a:ext>
            </a:extLst>
          </p:cNvPr>
          <p:cNvSpPr txBox="1">
            <a:spLocks/>
          </p:cNvSpPr>
          <p:nvPr/>
        </p:nvSpPr>
        <p:spPr>
          <a:xfrm>
            <a:off x="10364390" y="9391972"/>
            <a:ext cx="6703219" cy="345167"/>
          </a:xfrm>
          <a:prstGeom prst="rect">
            <a:avLst/>
          </a:prstGeom>
        </p:spPr>
        <p:txBody>
          <a:bodyPr vert="horz" wrap="square" lIns="0" tIns="67509" rIns="0" bIns="0" rtlCol="0" anchor="ctr"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R="4286" algn="l">
              <a:spcBef>
                <a:spcPts val="299"/>
              </a:spcBef>
            </a:pP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Fonte: </a:t>
            </a:r>
            <a:r>
              <a:rPr lang="pt-BR" sz="1800" i="1" spc="38" dirty="0" err="1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Cleones</a:t>
            </a:r>
            <a:r>
              <a:rPr lang="pt-BR" sz="1800" i="1" spc="38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Avelino</a:t>
            </a:r>
            <a:endParaRPr lang="pt-BR" sz="1800" i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A2063693-455A-EFAD-2122-20EC5DA90F18}"/>
              </a:ext>
            </a:extLst>
          </p:cNvPr>
          <p:cNvSpPr txBox="1">
            <a:spLocks/>
          </p:cNvSpPr>
          <p:nvPr/>
        </p:nvSpPr>
        <p:spPr>
          <a:xfrm>
            <a:off x="11379470" y="0"/>
            <a:ext cx="1656184" cy="34516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95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5pPr>
            <a:lvl6pPr marL="514287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6pPr>
            <a:lvl7pPr marL="1028573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7pPr>
            <a:lvl8pPr marL="1542859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8pPr>
            <a:lvl9pPr marL="2057144" algn="ctr" rtl="0" eaLnBrk="1" fontAlgn="base" hangingPunct="1">
              <a:spcBef>
                <a:spcPct val="0"/>
              </a:spcBef>
              <a:spcAft>
                <a:spcPct val="0"/>
              </a:spcAft>
              <a:defRPr sz="495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pt-BR" sz="2400" b="1" dirty="0">
                <a:solidFill>
                  <a:srgbClr val="69ADE7"/>
                </a:solidFill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1372929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OUB.Wk0Umr9VSeFDUcKw"/>
</p:tagLst>
</file>

<file path=ppt/theme/theme1.xml><?xml version="1.0" encoding="utf-8"?>
<a:theme xmlns:a="http://schemas.openxmlformats.org/drawingml/2006/main" name="modelomaterialdidatico_fgv_educacao_executiva">
  <a:themeElements>
    <a:clrScheme name="Personalizada 16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79646"/>
      </a:hlink>
      <a:folHlink>
        <a:srgbClr val="9236A4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resentação1" id="{1BF3A8CD-93FE-4642-8C34-1B5E2F0F18FD}" vid="{380539FA-782F-4DEA-AB05-7DDC49671130}"/>
    </a:ext>
  </a:extLst>
</a:theme>
</file>

<file path=ppt/theme/theme2.xml><?xml version="1.0" encoding="utf-8"?>
<a:theme xmlns:a="http://schemas.openxmlformats.org/drawingml/2006/main" name="Personalizar design">
  <a:themeElements>
    <a:clrScheme name="Personalizar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ersonalizar desig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ersonalizar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sonalizar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sonalizar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omaterialdidatico_fgv_educacao_executiva</Template>
  <TotalTime>123044</TotalTime>
  <Words>8412</Words>
  <Application>Microsoft Office PowerPoint</Application>
  <PresentationFormat>Personalizar</PresentationFormat>
  <Paragraphs>1259</Paragraphs>
  <Slides>127</Slides>
  <Notes>106</Notes>
  <HiddenSlides>0</HiddenSlides>
  <MMClips>0</MMClips>
  <ScaleCrop>false</ScaleCrop>
  <HeadingPairs>
    <vt:vector size="6" baseType="variant">
      <vt:variant>
        <vt:lpstr>Fontes usadas</vt:lpstr>
      </vt:variant>
      <vt:variant>
        <vt:i4>20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27</vt:i4>
      </vt:variant>
    </vt:vector>
  </HeadingPairs>
  <TitlesOfParts>
    <vt:vector size="149" baseType="lpstr">
      <vt:lpstr>MS PGothic</vt:lpstr>
      <vt:lpstr>MS PGothic</vt:lpstr>
      <vt:lpstr>Arial</vt:lpstr>
      <vt:lpstr>Arial Narrow</vt:lpstr>
      <vt:lpstr>Calibri</vt:lpstr>
      <vt:lpstr>Century Gothic</vt:lpstr>
      <vt:lpstr>Georgia</vt:lpstr>
      <vt:lpstr>Helvetica</vt:lpstr>
      <vt:lpstr>Helvetica Neue</vt:lpstr>
      <vt:lpstr>HelveticaNeueLT Std Cn</vt:lpstr>
      <vt:lpstr>Krub Medium</vt:lpstr>
      <vt:lpstr>Myriad Pro</vt:lpstr>
      <vt:lpstr>Rockwell</vt:lpstr>
      <vt:lpstr>Segoe UI</vt:lpstr>
      <vt:lpstr>Segoe UI Black</vt:lpstr>
      <vt:lpstr>Tahoma</vt:lpstr>
      <vt:lpstr>Times</vt:lpstr>
      <vt:lpstr>Times New Roman</vt:lpstr>
      <vt:lpstr>Verdana</vt:lpstr>
      <vt:lpstr>Wingdings</vt:lpstr>
      <vt:lpstr>modelomaterialdidatico_fgv_educacao_executiva</vt:lpstr>
      <vt:lpstr>Personalizar design</vt:lpstr>
      <vt:lpstr>Gestão da Mudança e Cultura Organizacion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Definições de cultur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Dando propósito ao trabalho</vt:lpstr>
      <vt:lpstr>Apresentação do PowerPoint</vt:lpstr>
      <vt:lpstr>Apresentação do PowerPoint</vt:lpstr>
      <vt:lpstr>Apresentação do PowerPoint</vt:lpstr>
      <vt:lpstr>Apresentação do PowerPoint</vt:lpstr>
      <vt:lpstr>Cultura,  estratégia e liderança </vt:lpstr>
      <vt:lpstr>Como a cultura influência a estratégia?</vt:lpstr>
      <vt:lpstr>Por que a cultura importa ?</vt:lpstr>
      <vt:lpstr>Apresentação do PowerPoint</vt:lpstr>
      <vt:lpstr>Apresentação do PowerPoint</vt:lpstr>
      <vt:lpstr>Qual é a melhor cultura organizacional ?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udando a cultura organizacional</vt:lpstr>
      <vt:lpstr>Apresentação do PowerPoint</vt:lpstr>
      <vt:lpstr>Apresentação do PowerPoint</vt:lpstr>
      <vt:lpstr>Apresentação do PowerPoint</vt:lpstr>
      <vt:lpstr>Mudando a cultura organizacion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Fontes de resistência</vt:lpstr>
      <vt:lpstr>Apresentação do PowerPoint</vt:lpstr>
      <vt:lpstr>Principais motivos de resistência</vt:lpstr>
      <vt:lpstr>Apresentação do PowerPoint</vt:lpstr>
      <vt:lpstr>Apresentação do PowerPoint</vt:lpstr>
      <vt:lpstr>Apresentação do PowerPoint</vt:lpstr>
      <vt:lpstr>Exercício Classifique os stakeholders abaixo de acordo com os tipos estudados:     1 – Aliado 2 – Bloquedor 3 – Membro de rede 4 – Desacelerador   </vt:lpstr>
      <vt:lpstr>Apresentação do PowerPoint</vt:lpstr>
      <vt:lpstr>Apresentação do PowerPoint</vt:lpstr>
      <vt:lpstr>Apresentação do PowerPoint</vt:lpstr>
      <vt:lpstr>Engajar e monitorar (agentes de mudança)</vt:lpstr>
      <vt:lpstr>Engajar e monitorar</vt:lpstr>
      <vt:lpstr>Matriz de engajamento de Stakeholders</vt:lpstr>
      <vt:lpstr>Apresentação do PowerPoint</vt:lpstr>
      <vt:lpstr>Case</vt:lpstr>
      <vt:lpstr>Apresentação do PowerPoint</vt:lpstr>
      <vt:lpstr>Case 2</vt:lpstr>
      <vt:lpstr>Por onde andei</vt:lpstr>
      <vt:lpstr>Metodologia de gestão da mudança</vt:lpstr>
      <vt:lpstr>Apresentação do PowerPoint</vt:lpstr>
      <vt:lpstr>Apresentação do PowerPoint</vt:lpstr>
      <vt:lpstr>Apresentação do PowerPoint</vt:lpstr>
      <vt:lpstr>Papéis </vt:lpstr>
      <vt:lpstr>Apresentação do PowerPoint</vt:lpstr>
      <vt:lpstr>Principais motivos de resistência</vt:lpstr>
      <vt:lpstr>Apresentação do PowerPoint</vt:lpstr>
      <vt:lpstr>Apresentação do PowerPoint</vt:lpstr>
      <vt:lpstr>Apresentação do PowerPoint</vt:lpstr>
      <vt:lpstr>Apresentação do PowerPoint</vt:lpstr>
      <vt:lpstr>Comunicação: inspirar para a mudança</vt:lpstr>
      <vt:lpstr>Apresentação do PowerPoint</vt:lpstr>
      <vt:lpstr>Apresentação do PowerPoint</vt:lpstr>
      <vt:lpstr>Apresentação do PowerPoint</vt:lpstr>
      <vt:lpstr>Empowerme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solangepose@uol.com.br 21 988010377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</dc:title>
  <dc:creator>Ana</dc:creator>
  <cp:keywords>FGV</cp:keywords>
  <cp:lastModifiedBy>Solange Pose Garcia</cp:lastModifiedBy>
  <cp:revision>1114</cp:revision>
  <cp:lastPrinted>2020-11-09T16:51:58Z</cp:lastPrinted>
  <dcterms:created xsi:type="dcterms:W3CDTF">2019-07-09T15:41:01Z</dcterms:created>
  <dcterms:modified xsi:type="dcterms:W3CDTF">2024-03-07T13:15:54Z</dcterms:modified>
</cp:coreProperties>
</file>